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309" r:id="rId5"/>
    <p:sldId id="475" r:id="rId6"/>
    <p:sldId id="481" r:id="rId7"/>
    <p:sldId id="482" r:id="rId8"/>
    <p:sldId id="483" r:id="rId9"/>
    <p:sldId id="486" r:id="rId10"/>
    <p:sldId id="490" r:id="rId11"/>
    <p:sldId id="488" r:id="rId12"/>
    <p:sldId id="487" r:id="rId13"/>
    <p:sldId id="484" r:id="rId14"/>
    <p:sldId id="409" r:id="rId15"/>
  </p:sldIdLst>
  <p:sldSz cx="9144000" cy="5143500" type="screen16x9"/>
  <p:notesSz cx="6797675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ABAB"/>
    <a:srgbClr val="F3FBC5"/>
    <a:srgbClr val="FFCCFF"/>
    <a:srgbClr val="5F5F5F"/>
    <a:srgbClr val="747474"/>
    <a:srgbClr val="A6A6A6"/>
    <a:srgbClr val="B2B2B2"/>
    <a:srgbClr val="EAEAEA"/>
    <a:srgbClr val="FF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27" autoAdjust="0"/>
    <p:restoredTop sz="88000" autoAdjust="0"/>
  </p:normalViewPr>
  <p:slideViewPr>
    <p:cSldViewPr snapToObjects="1" showGuides="1">
      <p:cViewPr varScale="1">
        <p:scale>
          <a:sx n="167" d="100"/>
          <a:sy n="167" d="100"/>
        </p:scale>
        <p:origin x="156" y="22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34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-373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DF6E6A-05DF-489F-B03D-6C9A7F4D6E47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D8055DD-53BE-444F-A241-833DB8497528}">
      <dgm:prSet phldrT="[Text]"/>
      <dgm:spPr/>
      <dgm:t>
        <a:bodyPr/>
        <a:lstStyle/>
        <a:p>
          <a:r>
            <a:rPr lang="en-US" dirty="0"/>
            <a:t>Pattern Recognition</a:t>
          </a:r>
        </a:p>
      </dgm:t>
    </dgm:pt>
    <dgm:pt modelId="{6A76AB85-0550-460D-B0E4-AA49E3EF948C}" type="parTrans" cxnId="{DC24780D-8E5A-41EB-8568-2544B3918666}">
      <dgm:prSet/>
      <dgm:spPr/>
      <dgm:t>
        <a:bodyPr/>
        <a:lstStyle/>
        <a:p>
          <a:endParaRPr lang="en-US"/>
        </a:p>
      </dgm:t>
    </dgm:pt>
    <dgm:pt modelId="{CD594743-3D05-43DB-9EF5-A841BE8F31BF}" type="sibTrans" cxnId="{DC24780D-8E5A-41EB-8568-2544B3918666}">
      <dgm:prSet/>
      <dgm:spPr/>
      <dgm:t>
        <a:bodyPr/>
        <a:lstStyle/>
        <a:p>
          <a:endParaRPr lang="en-US"/>
        </a:p>
      </dgm:t>
    </dgm:pt>
    <dgm:pt modelId="{D5B6439B-280D-4DA2-AB30-6B340275840E}" type="asst">
      <dgm:prSet phldrT="[Text]"/>
      <dgm:spPr/>
      <dgm:t>
        <a:bodyPr/>
        <a:lstStyle/>
        <a:p>
          <a:r>
            <a:rPr lang="en-US" dirty="0"/>
            <a:t>Supervised methods</a:t>
          </a:r>
        </a:p>
      </dgm:t>
    </dgm:pt>
    <dgm:pt modelId="{D0F2D3D4-71F4-4C8C-AD4E-6CD97BB5FDB2}" type="parTrans" cxnId="{032F66F7-5585-417C-B9F5-EB1AEFE0E2E5}">
      <dgm:prSet/>
      <dgm:spPr/>
      <dgm:t>
        <a:bodyPr/>
        <a:lstStyle/>
        <a:p>
          <a:endParaRPr lang="en-US"/>
        </a:p>
      </dgm:t>
    </dgm:pt>
    <dgm:pt modelId="{2E74345E-4C3A-4098-BF78-6C3D5484F9BE}" type="sibTrans" cxnId="{032F66F7-5585-417C-B9F5-EB1AEFE0E2E5}">
      <dgm:prSet/>
      <dgm:spPr/>
      <dgm:t>
        <a:bodyPr/>
        <a:lstStyle/>
        <a:p>
          <a:endParaRPr lang="en-US"/>
        </a:p>
      </dgm:t>
    </dgm:pt>
    <dgm:pt modelId="{544FA67E-DB5F-4EDE-945E-26D703C0AC57}" type="asst">
      <dgm:prSet/>
      <dgm:spPr/>
      <dgm:t>
        <a:bodyPr/>
        <a:lstStyle/>
        <a:p>
          <a:r>
            <a:rPr lang="en-US" dirty="0"/>
            <a:t>Unsupervised methods</a:t>
          </a:r>
        </a:p>
      </dgm:t>
    </dgm:pt>
    <dgm:pt modelId="{2866E49C-FE57-4A8B-A357-CC65B88D5CA4}" type="parTrans" cxnId="{E9665C9D-C941-40FF-99DB-06C697D55338}">
      <dgm:prSet/>
      <dgm:spPr/>
      <dgm:t>
        <a:bodyPr/>
        <a:lstStyle/>
        <a:p>
          <a:endParaRPr lang="en-US"/>
        </a:p>
      </dgm:t>
    </dgm:pt>
    <dgm:pt modelId="{E61276AD-038C-45E7-AF81-E0F45E218165}" type="sibTrans" cxnId="{E9665C9D-C941-40FF-99DB-06C697D55338}">
      <dgm:prSet/>
      <dgm:spPr/>
      <dgm:t>
        <a:bodyPr/>
        <a:lstStyle/>
        <a:p>
          <a:endParaRPr lang="en-US"/>
        </a:p>
      </dgm:t>
    </dgm:pt>
    <dgm:pt modelId="{C14A6520-4094-4778-A718-CD957BB4ECA0}" type="asst">
      <dgm:prSet/>
      <dgm:spPr/>
      <dgm:t>
        <a:bodyPr/>
        <a:lstStyle/>
        <a:p>
          <a:r>
            <a:rPr lang="en-US" dirty="0"/>
            <a:t>Classification</a:t>
          </a:r>
        </a:p>
      </dgm:t>
    </dgm:pt>
    <dgm:pt modelId="{296C6FD6-0377-49A5-8BCC-F1ABFE61A8D5}" type="parTrans" cxnId="{16A50B1A-CD3C-402F-9258-5804ACD81C52}">
      <dgm:prSet/>
      <dgm:spPr/>
      <dgm:t>
        <a:bodyPr/>
        <a:lstStyle/>
        <a:p>
          <a:endParaRPr lang="en-US"/>
        </a:p>
      </dgm:t>
    </dgm:pt>
    <dgm:pt modelId="{8A1BB7E3-8422-4246-93D4-168D5FEA1829}" type="sibTrans" cxnId="{16A50B1A-CD3C-402F-9258-5804ACD81C52}">
      <dgm:prSet/>
      <dgm:spPr/>
      <dgm:t>
        <a:bodyPr/>
        <a:lstStyle/>
        <a:p>
          <a:endParaRPr lang="en-US"/>
        </a:p>
      </dgm:t>
    </dgm:pt>
    <dgm:pt modelId="{A5FCE08E-6A09-4E26-9658-C5B0286BC8F4}" type="asst">
      <dgm:prSet/>
      <dgm:spPr/>
      <dgm:t>
        <a:bodyPr/>
        <a:lstStyle/>
        <a:p>
          <a:r>
            <a:rPr lang="en-US" dirty="0"/>
            <a:t>Regression</a:t>
          </a:r>
        </a:p>
      </dgm:t>
    </dgm:pt>
    <dgm:pt modelId="{3FF05808-77DE-40F3-8328-CCF7E9FBF8B3}" type="parTrans" cxnId="{CAA52472-636E-4368-ACF3-63B680369C80}">
      <dgm:prSet/>
      <dgm:spPr/>
      <dgm:t>
        <a:bodyPr/>
        <a:lstStyle/>
        <a:p>
          <a:endParaRPr lang="en-US"/>
        </a:p>
      </dgm:t>
    </dgm:pt>
    <dgm:pt modelId="{4435C279-5960-4509-A21B-AC89AC0824E6}" type="sibTrans" cxnId="{CAA52472-636E-4368-ACF3-63B680369C80}">
      <dgm:prSet/>
      <dgm:spPr/>
      <dgm:t>
        <a:bodyPr/>
        <a:lstStyle/>
        <a:p>
          <a:endParaRPr lang="en-US"/>
        </a:p>
      </dgm:t>
    </dgm:pt>
    <dgm:pt modelId="{2C511AD8-477D-4DB9-9319-72D874E3E3F3}" type="asst">
      <dgm:prSet/>
      <dgm:spPr/>
      <dgm:t>
        <a:bodyPr/>
        <a:lstStyle/>
        <a:p>
          <a:r>
            <a:rPr lang="en-US" dirty="0"/>
            <a:t>Clustering</a:t>
          </a:r>
        </a:p>
      </dgm:t>
    </dgm:pt>
    <dgm:pt modelId="{E564DB34-B5BC-4556-8675-6D44903A9B3E}" type="parTrans" cxnId="{FC6E45D0-2A15-49FE-9697-43FFE2253BBF}">
      <dgm:prSet/>
      <dgm:spPr/>
      <dgm:t>
        <a:bodyPr/>
        <a:lstStyle/>
        <a:p>
          <a:endParaRPr lang="en-US"/>
        </a:p>
      </dgm:t>
    </dgm:pt>
    <dgm:pt modelId="{2FF28BF3-A880-44BA-A7F6-240F6BB4D565}" type="sibTrans" cxnId="{FC6E45D0-2A15-49FE-9697-43FFE2253BBF}">
      <dgm:prSet/>
      <dgm:spPr/>
      <dgm:t>
        <a:bodyPr/>
        <a:lstStyle/>
        <a:p>
          <a:endParaRPr lang="en-US"/>
        </a:p>
      </dgm:t>
    </dgm:pt>
    <dgm:pt modelId="{3D9F613E-FF0C-45A1-A157-D543E7C05E6F}" type="asst">
      <dgm:prSet/>
      <dgm:spPr/>
      <dgm:t>
        <a:bodyPr/>
        <a:lstStyle/>
        <a:p>
          <a:r>
            <a:rPr lang="en-US" dirty="0"/>
            <a:t>Linear Regression</a:t>
          </a:r>
        </a:p>
      </dgm:t>
    </dgm:pt>
    <dgm:pt modelId="{F9754714-67E1-41BB-B570-C7FB32F06BB9}" type="parTrans" cxnId="{F278AAC6-1E2A-4AB6-BFBC-749083B76363}">
      <dgm:prSet/>
      <dgm:spPr/>
      <dgm:t>
        <a:bodyPr/>
        <a:lstStyle/>
        <a:p>
          <a:endParaRPr lang="en-US"/>
        </a:p>
      </dgm:t>
    </dgm:pt>
    <dgm:pt modelId="{D5966EC5-74D5-45FE-80D0-FE31D11B3B09}" type="sibTrans" cxnId="{F278AAC6-1E2A-4AB6-BFBC-749083B76363}">
      <dgm:prSet/>
      <dgm:spPr/>
      <dgm:t>
        <a:bodyPr/>
        <a:lstStyle/>
        <a:p>
          <a:endParaRPr lang="en-US"/>
        </a:p>
      </dgm:t>
    </dgm:pt>
    <dgm:pt modelId="{306F5B30-0478-4D68-8C0F-4CEAC93C38C1}" type="asst">
      <dgm:prSet/>
      <dgm:spPr/>
      <dgm:t>
        <a:bodyPr/>
        <a:lstStyle/>
        <a:p>
          <a:r>
            <a:rPr lang="en-US" dirty="0"/>
            <a:t>Decision Tree</a:t>
          </a:r>
        </a:p>
      </dgm:t>
    </dgm:pt>
    <dgm:pt modelId="{F0733750-DD2B-44B0-9224-4E7362ADBFD8}" type="parTrans" cxnId="{D9BA2179-958C-4820-9A73-CB3091C8D9E9}">
      <dgm:prSet/>
      <dgm:spPr/>
      <dgm:t>
        <a:bodyPr/>
        <a:lstStyle/>
        <a:p>
          <a:endParaRPr lang="en-US"/>
        </a:p>
      </dgm:t>
    </dgm:pt>
    <dgm:pt modelId="{5A3C6A3B-3061-430F-A233-586EB9A705EA}" type="sibTrans" cxnId="{D9BA2179-958C-4820-9A73-CB3091C8D9E9}">
      <dgm:prSet/>
      <dgm:spPr/>
      <dgm:t>
        <a:bodyPr/>
        <a:lstStyle/>
        <a:p>
          <a:endParaRPr lang="en-US"/>
        </a:p>
      </dgm:t>
    </dgm:pt>
    <dgm:pt modelId="{BBADD06C-8638-4198-BF7A-685CF5899109}">
      <dgm:prSet/>
      <dgm:spPr/>
      <dgm:t>
        <a:bodyPr/>
        <a:lstStyle/>
        <a:p>
          <a:r>
            <a:rPr lang="en-US" dirty="0"/>
            <a:t>Rule-based</a:t>
          </a:r>
        </a:p>
      </dgm:t>
    </dgm:pt>
    <dgm:pt modelId="{F52DA10F-E523-4283-9818-6EF8999CEB6A}" type="parTrans" cxnId="{0BE150AA-C3B5-401F-84AC-4F783CD44F03}">
      <dgm:prSet/>
      <dgm:spPr/>
      <dgm:t>
        <a:bodyPr/>
        <a:lstStyle/>
        <a:p>
          <a:endParaRPr lang="en-US"/>
        </a:p>
      </dgm:t>
    </dgm:pt>
    <dgm:pt modelId="{54877B0A-ED36-4766-AA45-AB207C21AEF5}" type="sibTrans" cxnId="{0BE150AA-C3B5-401F-84AC-4F783CD44F03}">
      <dgm:prSet/>
      <dgm:spPr/>
      <dgm:t>
        <a:bodyPr/>
        <a:lstStyle/>
        <a:p>
          <a:endParaRPr lang="en-US"/>
        </a:p>
      </dgm:t>
    </dgm:pt>
    <dgm:pt modelId="{687882E4-8BFF-4377-9E83-168E1457F86C}">
      <dgm:prSet/>
      <dgm:spPr/>
      <dgm:t>
        <a:bodyPr/>
        <a:lstStyle/>
        <a:p>
          <a:r>
            <a:rPr lang="en-US" dirty="0"/>
            <a:t>General linear model</a:t>
          </a:r>
        </a:p>
      </dgm:t>
    </dgm:pt>
    <dgm:pt modelId="{F245885C-AF2C-4614-9351-7446991E6E62}" type="parTrans" cxnId="{33C01AEA-AF30-4734-9E6F-151B5001D188}">
      <dgm:prSet/>
      <dgm:spPr/>
      <dgm:t>
        <a:bodyPr/>
        <a:lstStyle/>
        <a:p>
          <a:endParaRPr lang="en-US"/>
        </a:p>
      </dgm:t>
    </dgm:pt>
    <dgm:pt modelId="{50BCB7AC-06FC-4AAF-9E4A-B88D0A830624}" type="sibTrans" cxnId="{33C01AEA-AF30-4734-9E6F-151B5001D188}">
      <dgm:prSet/>
      <dgm:spPr/>
      <dgm:t>
        <a:bodyPr/>
        <a:lstStyle/>
        <a:p>
          <a:endParaRPr lang="en-US"/>
        </a:p>
      </dgm:t>
    </dgm:pt>
    <dgm:pt modelId="{A65A4AF3-048A-46B2-8588-4CE1310CFA16}">
      <dgm:prSet/>
      <dgm:spPr/>
      <dgm:t>
        <a:bodyPr/>
        <a:lstStyle/>
        <a:p>
          <a:r>
            <a:rPr lang="en-US" dirty="0"/>
            <a:t>K-means clustering</a:t>
          </a:r>
        </a:p>
      </dgm:t>
    </dgm:pt>
    <dgm:pt modelId="{17D50722-2640-4A77-B829-6710EA23B74D}" type="parTrans" cxnId="{51966A8D-81EC-4CB0-89C7-4555563CEF78}">
      <dgm:prSet/>
      <dgm:spPr/>
      <dgm:t>
        <a:bodyPr/>
        <a:lstStyle/>
        <a:p>
          <a:endParaRPr lang="en-US"/>
        </a:p>
      </dgm:t>
    </dgm:pt>
    <dgm:pt modelId="{5889490E-C184-4E31-AED0-765BED6C455F}" type="sibTrans" cxnId="{51966A8D-81EC-4CB0-89C7-4555563CEF78}">
      <dgm:prSet/>
      <dgm:spPr/>
      <dgm:t>
        <a:bodyPr/>
        <a:lstStyle/>
        <a:p>
          <a:endParaRPr lang="en-US"/>
        </a:p>
      </dgm:t>
    </dgm:pt>
    <dgm:pt modelId="{2C8C87D6-940A-49AE-B059-C0D06433FA76}">
      <dgm:prSet/>
      <dgm:spPr/>
      <dgm:t>
        <a:bodyPr/>
        <a:lstStyle/>
        <a:p>
          <a:r>
            <a:rPr lang="en-US" dirty="0"/>
            <a:t>…</a:t>
          </a:r>
        </a:p>
      </dgm:t>
    </dgm:pt>
    <dgm:pt modelId="{661EE8F9-E011-431E-A0C7-9394331FCF22}" type="parTrans" cxnId="{69A59F71-3B7C-4D4D-A30C-38E87643BB2C}">
      <dgm:prSet/>
      <dgm:spPr/>
      <dgm:t>
        <a:bodyPr/>
        <a:lstStyle/>
        <a:p>
          <a:endParaRPr lang="en-US"/>
        </a:p>
      </dgm:t>
    </dgm:pt>
    <dgm:pt modelId="{948ED436-48EF-4AA7-BFF9-096ECC5EA6EF}" type="sibTrans" cxnId="{69A59F71-3B7C-4D4D-A30C-38E87643BB2C}">
      <dgm:prSet/>
      <dgm:spPr/>
      <dgm:t>
        <a:bodyPr/>
        <a:lstStyle/>
        <a:p>
          <a:endParaRPr lang="en-US"/>
        </a:p>
      </dgm:t>
    </dgm:pt>
    <dgm:pt modelId="{81BFD521-4880-425A-8A60-F02DF6152F6F}">
      <dgm:prSet/>
      <dgm:spPr/>
      <dgm:t>
        <a:bodyPr/>
        <a:lstStyle/>
        <a:p>
          <a:r>
            <a:rPr lang="en-US" b="0" i="0"/>
            <a:t>Hierarchical clustering</a:t>
          </a:r>
        </a:p>
      </dgm:t>
    </dgm:pt>
    <dgm:pt modelId="{BDB32371-6AD4-4923-AA80-AEB2DC2021C3}" type="parTrans" cxnId="{CC395046-BB39-4F1F-B419-E9CFC2DDDC2A}">
      <dgm:prSet/>
      <dgm:spPr/>
      <dgm:t>
        <a:bodyPr/>
        <a:lstStyle/>
        <a:p>
          <a:endParaRPr lang="en-US"/>
        </a:p>
      </dgm:t>
    </dgm:pt>
    <dgm:pt modelId="{12DF02C6-B928-4399-83BE-9DB6BBDB4CAD}" type="sibTrans" cxnId="{CC395046-BB39-4F1F-B419-E9CFC2DDDC2A}">
      <dgm:prSet/>
      <dgm:spPr/>
      <dgm:t>
        <a:bodyPr/>
        <a:lstStyle/>
        <a:p>
          <a:endParaRPr lang="en-US"/>
        </a:p>
      </dgm:t>
    </dgm:pt>
    <dgm:pt modelId="{26EFBC27-EE85-47F8-A685-2E76418B49C5}">
      <dgm:prSet/>
      <dgm:spPr/>
      <dgm:t>
        <a:bodyPr/>
        <a:lstStyle/>
        <a:p>
          <a:r>
            <a:rPr lang="en-US" dirty="0"/>
            <a:t>…</a:t>
          </a:r>
        </a:p>
      </dgm:t>
    </dgm:pt>
    <dgm:pt modelId="{10ABDE64-8361-4F27-9444-8188EF3823FE}" type="parTrans" cxnId="{15D6EF04-27DB-46EE-919C-ABEF53C26DFD}">
      <dgm:prSet/>
      <dgm:spPr/>
      <dgm:t>
        <a:bodyPr/>
        <a:lstStyle/>
        <a:p>
          <a:endParaRPr lang="en-US"/>
        </a:p>
      </dgm:t>
    </dgm:pt>
    <dgm:pt modelId="{9A6E19D2-ED07-45F4-92F4-4BF6709400E1}" type="sibTrans" cxnId="{15D6EF04-27DB-46EE-919C-ABEF53C26DFD}">
      <dgm:prSet/>
      <dgm:spPr/>
      <dgm:t>
        <a:bodyPr/>
        <a:lstStyle/>
        <a:p>
          <a:endParaRPr lang="en-US"/>
        </a:p>
      </dgm:t>
    </dgm:pt>
    <dgm:pt modelId="{BAD25CEE-EF9B-4055-B4EE-F6118F4CCFE9}">
      <dgm:prSet/>
      <dgm:spPr/>
      <dgm:t>
        <a:bodyPr/>
        <a:lstStyle/>
        <a:p>
          <a:r>
            <a:rPr lang="en-US" dirty="0"/>
            <a:t>…</a:t>
          </a:r>
        </a:p>
      </dgm:t>
    </dgm:pt>
    <dgm:pt modelId="{258E0910-D5DC-4A42-BED8-2F8C1CDFAE22}" type="parTrans" cxnId="{FFB0734D-0F77-4E60-9765-52614B0FC3EC}">
      <dgm:prSet/>
      <dgm:spPr/>
      <dgm:t>
        <a:bodyPr/>
        <a:lstStyle/>
        <a:p>
          <a:endParaRPr lang="en-US"/>
        </a:p>
      </dgm:t>
    </dgm:pt>
    <dgm:pt modelId="{8E8E31A5-DFE2-4D47-8B33-1186A776B368}" type="sibTrans" cxnId="{FFB0734D-0F77-4E60-9765-52614B0FC3EC}">
      <dgm:prSet/>
      <dgm:spPr/>
      <dgm:t>
        <a:bodyPr/>
        <a:lstStyle/>
        <a:p>
          <a:endParaRPr lang="en-US"/>
        </a:p>
      </dgm:t>
    </dgm:pt>
    <dgm:pt modelId="{61EED68C-CDCB-4F46-8A1F-26A0BA99D25A}" type="pres">
      <dgm:prSet presAssocID="{09DF6E6A-05DF-489F-B03D-6C9A7F4D6E4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B71C4EF-9EBD-42DE-BC8B-0705166D182F}" type="pres">
      <dgm:prSet presAssocID="{1D8055DD-53BE-444F-A241-833DB8497528}" presName="hierRoot1" presStyleCnt="0"/>
      <dgm:spPr/>
    </dgm:pt>
    <dgm:pt modelId="{41D56E92-203F-40C0-A494-C691EF4E2541}" type="pres">
      <dgm:prSet presAssocID="{1D8055DD-53BE-444F-A241-833DB8497528}" presName="composite" presStyleCnt="0"/>
      <dgm:spPr/>
    </dgm:pt>
    <dgm:pt modelId="{A048E00D-5A75-4C19-BE65-D30074CB9AAF}" type="pres">
      <dgm:prSet presAssocID="{1D8055DD-53BE-444F-A241-833DB8497528}" presName="background" presStyleLbl="node0" presStyleIdx="0" presStyleCnt="1"/>
      <dgm:spPr/>
    </dgm:pt>
    <dgm:pt modelId="{68D601E7-2250-4BFF-9557-C27D06259E4B}" type="pres">
      <dgm:prSet presAssocID="{1D8055DD-53BE-444F-A241-833DB8497528}" presName="text" presStyleLbl="fgAcc0" presStyleIdx="0" presStyleCnt="1">
        <dgm:presLayoutVars>
          <dgm:chPref val="3"/>
        </dgm:presLayoutVars>
      </dgm:prSet>
      <dgm:spPr/>
    </dgm:pt>
    <dgm:pt modelId="{8B4EA6FD-270C-4C19-BBAB-313E096FF906}" type="pres">
      <dgm:prSet presAssocID="{1D8055DD-53BE-444F-A241-833DB8497528}" presName="hierChild2" presStyleCnt="0"/>
      <dgm:spPr/>
    </dgm:pt>
    <dgm:pt modelId="{AB6D3B87-BE80-447B-AC9A-4B74A17A5D0A}" type="pres">
      <dgm:prSet presAssocID="{D0F2D3D4-71F4-4C8C-AD4E-6CD97BB5FDB2}" presName="Name10" presStyleLbl="parChTrans1D2" presStyleIdx="0" presStyleCnt="2"/>
      <dgm:spPr/>
    </dgm:pt>
    <dgm:pt modelId="{720AB30E-F14D-4978-A7D7-BE3331640CFC}" type="pres">
      <dgm:prSet presAssocID="{D5B6439B-280D-4DA2-AB30-6B340275840E}" presName="hierRoot2" presStyleCnt="0"/>
      <dgm:spPr/>
    </dgm:pt>
    <dgm:pt modelId="{71EF9132-A501-4879-AD04-347D673A9F81}" type="pres">
      <dgm:prSet presAssocID="{D5B6439B-280D-4DA2-AB30-6B340275840E}" presName="composite2" presStyleCnt="0"/>
      <dgm:spPr/>
    </dgm:pt>
    <dgm:pt modelId="{71072238-5115-44C6-B263-21D794DC9DB3}" type="pres">
      <dgm:prSet presAssocID="{D5B6439B-280D-4DA2-AB30-6B340275840E}" presName="background2" presStyleLbl="asst1" presStyleIdx="0" presStyleCnt="7"/>
      <dgm:spPr/>
    </dgm:pt>
    <dgm:pt modelId="{F4B8646C-925D-47B0-BBC7-005B54AE717C}" type="pres">
      <dgm:prSet presAssocID="{D5B6439B-280D-4DA2-AB30-6B340275840E}" presName="text2" presStyleLbl="fgAcc2" presStyleIdx="0" presStyleCnt="2">
        <dgm:presLayoutVars>
          <dgm:chPref val="3"/>
        </dgm:presLayoutVars>
      </dgm:prSet>
      <dgm:spPr/>
    </dgm:pt>
    <dgm:pt modelId="{152DED93-A9AB-4BB0-AEB8-331D2BD9D560}" type="pres">
      <dgm:prSet presAssocID="{D5B6439B-280D-4DA2-AB30-6B340275840E}" presName="hierChild3" presStyleCnt="0"/>
      <dgm:spPr/>
    </dgm:pt>
    <dgm:pt modelId="{94A17DB7-FE71-465C-9E61-C4FA0F117408}" type="pres">
      <dgm:prSet presAssocID="{296C6FD6-0377-49A5-8BCC-F1ABFE61A8D5}" presName="Name17" presStyleLbl="parChTrans1D3" presStyleIdx="0" presStyleCnt="3"/>
      <dgm:spPr/>
    </dgm:pt>
    <dgm:pt modelId="{0258551C-374A-4355-A055-17302827C83D}" type="pres">
      <dgm:prSet presAssocID="{C14A6520-4094-4778-A718-CD957BB4ECA0}" presName="hierRoot3" presStyleCnt="0"/>
      <dgm:spPr/>
    </dgm:pt>
    <dgm:pt modelId="{8131292D-19CC-49AC-9983-4E6C857469CB}" type="pres">
      <dgm:prSet presAssocID="{C14A6520-4094-4778-A718-CD957BB4ECA0}" presName="composite3" presStyleCnt="0"/>
      <dgm:spPr/>
    </dgm:pt>
    <dgm:pt modelId="{8F30E7E9-A2AA-4CB3-B42B-36C0F8E10597}" type="pres">
      <dgm:prSet presAssocID="{C14A6520-4094-4778-A718-CD957BB4ECA0}" presName="background3" presStyleLbl="asst1" presStyleIdx="1" presStyleCnt="7"/>
      <dgm:spPr/>
    </dgm:pt>
    <dgm:pt modelId="{2C476A9F-1A33-44CF-9BAC-019A0A457FAF}" type="pres">
      <dgm:prSet presAssocID="{C14A6520-4094-4778-A718-CD957BB4ECA0}" presName="text3" presStyleLbl="fgAcc3" presStyleIdx="0" presStyleCnt="3">
        <dgm:presLayoutVars>
          <dgm:chPref val="3"/>
        </dgm:presLayoutVars>
      </dgm:prSet>
      <dgm:spPr/>
    </dgm:pt>
    <dgm:pt modelId="{D4F06BA6-CACC-4F71-8328-310C0F1E4345}" type="pres">
      <dgm:prSet presAssocID="{C14A6520-4094-4778-A718-CD957BB4ECA0}" presName="hierChild4" presStyleCnt="0"/>
      <dgm:spPr/>
    </dgm:pt>
    <dgm:pt modelId="{E0EEFCF0-28D8-4D2D-BCD7-33E7FBEC42CF}" type="pres">
      <dgm:prSet presAssocID="{F0733750-DD2B-44B0-9224-4E7362ADBFD8}" presName="Name23" presStyleLbl="parChTrans1D4" presStyleIdx="0" presStyleCnt="9"/>
      <dgm:spPr/>
    </dgm:pt>
    <dgm:pt modelId="{23D028C4-67DA-4C98-A160-535806CBC87B}" type="pres">
      <dgm:prSet presAssocID="{306F5B30-0478-4D68-8C0F-4CEAC93C38C1}" presName="hierRoot4" presStyleCnt="0"/>
      <dgm:spPr/>
    </dgm:pt>
    <dgm:pt modelId="{95A5E5B2-7694-4FD0-A1BC-EDE1D5469CE3}" type="pres">
      <dgm:prSet presAssocID="{306F5B30-0478-4D68-8C0F-4CEAC93C38C1}" presName="composite4" presStyleCnt="0"/>
      <dgm:spPr/>
    </dgm:pt>
    <dgm:pt modelId="{7591DADB-D829-4387-9212-31D41578E964}" type="pres">
      <dgm:prSet presAssocID="{306F5B30-0478-4D68-8C0F-4CEAC93C38C1}" presName="background4" presStyleLbl="asst1" presStyleIdx="2" presStyleCnt="7"/>
      <dgm:spPr/>
    </dgm:pt>
    <dgm:pt modelId="{73B28AB6-4A59-42BF-AA3D-564284C506A8}" type="pres">
      <dgm:prSet presAssocID="{306F5B30-0478-4D68-8C0F-4CEAC93C38C1}" presName="text4" presStyleLbl="fgAcc4" presStyleIdx="0" presStyleCnt="9">
        <dgm:presLayoutVars>
          <dgm:chPref val="3"/>
        </dgm:presLayoutVars>
      </dgm:prSet>
      <dgm:spPr/>
    </dgm:pt>
    <dgm:pt modelId="{4363D2B7-2EB6-4892-B67E-F401B2849887}" type="pres">
      <dgm:prSet presAssocID="{306F5B30-0478-4D68-8C0F-4CEAC93C38C1}" presName="hierChild5" presStyleCnt="0"/>
      <dgm:spPr/>
    </dgm:pt>
    <dgm:pt modelId="{C23993E0-2873-4F2F-A719-7111BAA57038}" type="pres">
      <dgm:prSet presAssocID="{F52DA10F-E523-4283-9818-6EF8999CEB6A}" presName="Name23" presStyleLbl="parChTrans1D4" presStyleIdx="1" presStyleCnt="9"/>
      <dgm:spPr/>
    </dgm:pt>
    <dgm:pt modelId="{7A9DB2D7-C61A-4914-AB2D-A7F2501515DE}" type="pres">
      <dgm:prSet presAssocID="{BBADD06C-8638-4198-BF7A-685CF5899109}" presName="hierRoot4" presStyleCnt="0"/>
      <dgm:spPr/>
    </dgm:pt>
    <dgm:pt modelId="{66F220F1-019C-4FB2-99FE-58264B144C02}" type="pres">
      <dgm:prSet presAssocID="{BBADD06C-8638-4198-BF7A-685CF5899109}" presName="composite4" presStyleCnt="0"/>
      <dgm:spPr/>
    </dgm:pt>
    <dgm:pt modelId="{F549ED74-D234-4022-86FB-257C1D293D82}" type="pres">
      <dgm:prSet presAssocID="{BBADD06C-8638-4198-BF7A-685CF5899109}" presName="background4" presStyleLbl="node4" presStyleIdx="0" presStyleCnt="7"/>
      <dgm:spPr/>
    </dgm:pt>
    <dgm:pt modelId="{A6CC260F-1D85-42E6-8400-2798A95B8BFD}" type="pres">
      <dgm:prSet presAssocID="{BBADD06C-8638-4198-BF7A-685CF5899109}" presName="text4" presStyleLbl="fgAcc4" presStyleIdx="1" presStyleCnt="9">
        <dgm:presLayoutVars>
          <dgm:chPref val="3"/>
        </dgm:presLayoutVars>
      </dgm:prSet>
      <dgm:spPr/>
    </dgm:pt>
    <dgm:pt modelId="{46F9DD1B-650A-45C9-AFF6-5CDB2DD9A528}" type="pres">
      <dgm:prSet presAssocID="{BBADD06C-8638-4198-BF7A-685CF5899109}" presName="hierChild5" presStyleCnt="0"/>
      <dgm:spPr/>
    </dgm:pt>
    <dgm:pt modelId="{D41F2B3E-5801-4B11-A005-10BAE2AD015F}" type="pres">
      <dgm:prSet presAssocID="{661EE8F9-E011-431E-A0C7-9394331FCF22}" presName="Name23" presStyleLbl="parChTrans1D4" presStyleIdx="2" presStyleCnt="9"/>
      <dgm:spPr/>
    </dgm:pt>
    <dgm:pt modelId="{E8726763-D2F8-49F5-9AFD-87889BEEF714}" type="pres">
      <dgm:prSet presAssocID="{2C8C87D6-940A-49AE-B059-C0D06433FA76}" presName="hierRoot4" presStyleCnt="0"/>
      <dgm:spPr/>
    </dgm:pt>
    <dgm:pt modelId="{0A22D7BF-6547-49E7-9D88-B776B721AF1E}" type="pres">
      <dgm:prSet presAssocID="{2C8C87D6-940A-49AE-B059-C0D06433FA76}" presName="composite4" presStyleCnt="0"/>
      <dgm:spPr/>
    </dgm:pt>
    <dgm:pt modelId="{1E2B801F-8E8F-4E69-9E96-FD6F06E58C67}" type="pres">
      <dgm:prSet presAssocID="{2C8C87D6-940A-49AE-B059-C0D06433FA76}" presName="background4" presStyleLbl="node4" presStyleIdx="1" presStyleCnt="7"/>
      <dgm:spPr/>
    </dgm:pt>
    <dgm:pt modelId="{41949079-0EC9-462B-8016-D578773ABF1F}" type="pres">
      <dgm:prSet presAssocID="{2C8C87D6-940A-49AE-B059-C0D06433FA76}" presName="text4" presStyleLbl="fgAcc4" presStyleIdx="2" presStyleCnt="9">
        <dgm:presLayoutVars>
          <dgm:chPref val="3"/>
        </dgm:presLayoutVars>
      </dgm:prSet>
      <dgm:spPr/>
    </dgm:pt>
    <dgm:pt modelId="{7F692953-C8FA-4909-B547-8D111E6884FA}" type="pres">
      <dgm:prSet presAssocID="{2C8C87D6-940A-49AE-B059-C0D06433FA76}" presName="hierChild5" presStyleCnt="0"/>
      <dgm:spPr/>
    </dgm:pt>
    <dgm:pt modelId="{4FFF1C42-7FA4-4A6B-B453-6014BCD7A223}" type="pres">
      <dgm:prSet presAssocID="{3FF05808-77DE-40F3-8328-CCF7E9FBF8B3}" presName="Name17" presStyleLbl="parChTrans1D3" presStyleIdx="1" presStyleCnt="3"/>
      <dgm:spPr/>
    </dgm:pt>
    <dgm:pt modelId="{CBD2A0CE-20D7-4B2C-8DDF-1675BBA8485C}" type="pres">
      <dgm:prSet presAssocID="{A5FCE08E-6A09-4E26-9658-C5B0286BC8F4}" presName="hierRoot3" presStyleCnt="0"/>
      <dgm:spPr/>
    </dgm:pt>
    <dgm:pt modelId="{F26A0A1E-F74E-4F97-B45C-2C04FA12A68F}" type="pres">
      <dgm:prSet presAssocID="{A5FCE08E-6A09-4E26-9658-C5B0286BC8F4}" presName="composite3" presStyleCnt="0"/>
      <dgm:spPr/>
    </dgm:pt>
    <dgm:pt modelId="{84EB2C9B-482A-44E9-845C-5B946705931B}" type="pres">
      <dgm:prSet presAssocID="{A5FCE08E-6A09-4E26-9658-C5B0286BC8F4}" presName="background3" presStyleLbl="asst1" presStyleIdx="3" presStyleCnt="7"/>
      <dgm:spPr/>
    </dgm:pt>
    <dgm:pt modelId="{5C835A61-30C1-4BCB-B259-12939A9A1F54}" type="pres">
      <dgm:prSet presAssocID="{A5FCE08E-6A09-4E26-9658-C5B0286BC8F4}" presName="text3" presStyleLbl="fgAcc3" presStyleIdx="1" presStyleCnt="3">
        <dgm:presLayoutVars>
          <dgm:chPref val="3"/>
        </dgm:presLayoutVars>
      </dgm:prSet>
      <dgm:spPr/>
    </dgm:pt>
    <dgm:pt modelId="{BE0FDA57-E7F7-4B9B-8993-8E735444A1E5}" type="pres">
      <dgm:prSet presAssocID="{A5FCE08E-6A09-4E26-9658-C5B0286BC8F4}" presName="hierChild4" presStyleCnt="0"/>
      <dgm:spPr/>
    </dgm:pt>
    <dgm:pt modelId="{29427F3A-66BD-4878-8119-1403137EF23C}" type="pres">
      <dgm:prSet presAssocID="{F9754714-67E1-41BB-B570-C7FB32F06BB9}" presName="Name23" presStyleLbl="parChTrans1D4" presStyleIdx="3" presStyleCnt="9"/>
      <dgm:spPr/>
    </dgm:pt>
    <dgm:pt modelId="{ED475BC3-FC74-4D43-8267-3AFD5468CD9E}" type="pres">
      <dgm:prSet presAssocID="{3D9F613E-FF0C-45A1-A157-D543E7C05E6F}" presName="hierRoot4" presStyleCnt="0"/>
      <dgm:spPr/>
    </dgm:pt>
    <dgm:pt modelId="{D980EC8A-CBD1-453B-B928-A2731E9CDBD9}" type="pres">
      <dgm:prSet presAssocID="{3D9F613E-FF0C-45A1-A157-D543E7C05E6F}" presName="composite4" presStyleCnt="0"/>
      <dgm:spPr/>
    </dgm:pt>
    <dgm:pt modelId="{FDA6F67C-FA5D-4361-9C3D-0FB6C20E5F96}" type="pres">
      <dgm:prSet presAssocID="{3D9F613E-FF0C-45A1-A157-D543E7C05E6F}" presName="background4" presStyleLbl="asst1" presStyleIdx="4" presStyleCnt="7"/>
      <dgm:spPr/>
    </dgm:pt>
    <dgm:pt modelId="{DB88B594-C67E-4903-8B5F-E6B6CDF9DEC1}" type="pres">
      <dgm:prSet presAssocID="{3D9F613E-FF0C-45A1-A157-D543E7C05E6F}" presName="text4" presStyleLbl="fgAcc4" presStyleIdx="3" presStyleCnt="9">
        <dgm:presLayoutVars>
          <dgm:chPref val="3"/>
        </dgm:presLayoutVars>
      </dgm:prSet>
      <dgm:spPr/>
    </dgm:pt>
    <dgm:pt modelId="{E95B4977-EDEF-4C89-B652-7CB74CA648F7}" type="pres">
      <dgm:prSet presAssocID="{3D9F613E-FF0C-45A1-A157-D543E7C05E6F}" presName="hierChild5" presStyleCnt="0"/>
      <dgm:spPr/>
    </dgm:pt>
    <dgm:pt modelId="{E88ECEDF-FF34-427B-AA9E-32113924E141}" type="pres">
      <dgm:prSet presAssocID="{F245885C-AF2C-4614-9351-7446991E6E62}" presName="Name23" presStyleLbl="parChTrans1D4" presStyleIdx="4" presStyleCnt="9"/>
      <dgm:spPr/>
    </dgm:pt>
    <dgm:pt modelId="{CC5101C5-C358-4DA6-8918-94213CFF5049}" type="pres">
      <dgm:prSet presAssocID="{687882E4-8BFF-4377-9E83-168E1457F86C}" presName="hierRoot4" presStyleCnt="0"/>
      <dgm:spPr/>
    </dgm:pt>
    <dgm:pt modelId="{72C966E4-33B4-49A5-80AA-F9CB0F84FB03}" type="pres">
      <dgm:prSet presAssocID="{687882E4-8BFF-4377-9E83-168E1457F86C}" presName="composite4" presStyleCnt="0"/>
      <dgm:spPr/>
    </dgm:pt>
    <dgm:pt modelId="{267C97AF-399A-4D3A-8ADE-1A938F8E82B7}" type="pres">
      <dgm:prSet presAssocID="{687882E4-8BFF-4377-9E83-168E1457F86C}" presName="background4" presStyleLbl="node4" presStyleIdx="2" presStyleCnt="7"/>
      <dgm:spPr/>
    </dgm:pt>
    <dgm:pt modelId="{5D07AA4F-4711-42BE-B633-E540C3185D9D}" type="pres">
      <dgm:prSet presAssocID="{687882E4-8BFF-4377-9E83-168E1457F86C}" presName="text4" presStyleLbl="fgAcc4" presStyleIdx="4" presStyleCnt="9">
        <dgm:presLayoutVars>
          <dgm:chPref val="3"/>
        </dgm:presLayoutVars>
      </dgm:prSet>
      <dgm:spPr/>
    </dgm:pt>
    <dgm:pt modelId="{037EE15B-C7B1-46B7-94E7-A37DBD5F5C97}" type="pres">
      <dgm:prSet presAssocID="{687882E4-8BFF-4377-9E83-168E1457F86C}" presName="hierChild5" presStyleCnt="0"/>
      <dgm:spPr/>
    </dgm:pt>
    <dgm:pt modelId="{8A5C7BD4-1E91-4CF0-BAD2-410253084A7B}" type="pres">
      <dgm:prSet presAssocID="{258E0910-D5DC-4A42-BED8-2F8C1CDFAE22}" presName="Name23" presStyleLbl="parChTrans1D4" presStyleIdx="5" presStyleCnt="9"/>
      <dgm:spPr/>
    </dgm:pt>
    <dgm:pt modelId="{2082257D-0A01-45D3-AC82-9800ADEB09AA}" type="pres">
      <dgm:prSet presAssocID="{BAD25CEE-EF9B-4055-B4EE-F6118F4CCFE9}" presName="hierRoot4" presStyleCnt="0"/>
      <dgm:spPr/>
    </dgm:pt>
    <dgm:pt modelId="{B0793078-5E15-4C7D-B934-76FB9C73A6FC}" type="pres">
      <dgm:prSet presAssocID="{BAD25CEE-EF9B-4055-B4EE-F6118F4CCFE9}" presName="composite4" presStyleCnt="0"/>
      <dgm:spPr/>
    </dgm:pt>
    <dgm:pt modelId="{5A457522-9232-4782-AAB6-FFF71D6C9772}" type="pres">
      <dgm:prSet presAssocID="{BAD25CEE-EF9B-4055-B4EE-F6118F4CCFE9}" presName="background4" presStyleLbl="node4" presStyleIdx="3" presStyleCnt="7"/>
      <dgm:spPr/>
    </dgm:pt>
    <dgm:pt modelId="{4D0CD664-4A7B-469E-8C74-7C7D94D9E798}" type="pres">
      <dgm:prSet presAssocID="{BAD25CEE-EF9B-4055-B4EE-F6118F4CCFE9}" presName="text4" presStyleLbl="fgAcc4" presStyleIdx="5" presStyleCnt="9">
        <dgm:presLayoutVars>
          <dgm:chPref val="3"/>
        </dgm:presLayoutVars>
      </dgm:prSet>
      <dgm:spPr/>
    </dgm:pt>
    <dgm:pt modelId="{D91D8B88-4D9F-4C34-93DD-58739EAD1BF0}" type="pres">
      <dgm:prSet presAssocID="{BAD25CEE-EF9B-4055-B4EE-F6118F4CCFE9}" presName="hierChild5" presStyleCnt="0"/>
      <dgm:spPr/>
    </dgm:pt>
    <dgm:pt modelId="{F3D2679F-8F04-4471-98C7-B9AE86C198F0}" type="pres">
      <dgm:prSet presAssocID="{2866E49C-FE57-4A8B-A357-CC65B88D5CA4}" presName="Name10" presStyleLbl="parChTrans1D2" presStyleIdx="1" presStyleCnt="2"/>
      <dgm:spPr/>
    </dgm:pt>
    <dgm:pt modelId="{3CE853AA-06D9-4DC3-8F1F-6DD724CDA96E}" type="pres">
      <dgm:prSet presAssocID="{544FA67E-DB5F-4EDE-945E-26D703C0AC57}" presName="hierRoot2" presStyleCnt="0"/>
      <dgm:spPr/>
    </dgm:pt>
    <dgm:pt modelId="{A2285972-A9B8-4740-88DE-E9A716E214B0}" type="pres">
      <dgm:prSet presAssocID="{544FA67E-DB5F-4EDE-945E-26D703C0AC57}" presName="composite2" presStyleCnt="0"/>
      <dgm:spPr/>
    </dgm:pt>
    <dgm:pt modelId="{6AE50787-5C60-41E7-AED2-B670D3847B32}" type="pres">
      <dgm:prSet presAssocID="{544FA67E-DB5F-4EDE-945E-26D703C0AC57}" presName="background2" presStyleLbl="asst1" presStyleIdx="5" presStyleCnt="7"/>
      <dgm:spPr/>
    </dgm:pt>
    <dgm:pt modelId="{CF962B25-E188-46D1-BB7B-FD072D5F9FBC}" type="pres">
      <dgm:prSet presAssocID="{544FA67E-DB5F-4EDE-945E-26D703C0AC57}" presName="text2" presStyleLbl="fgAcc2" presStyleIdx="1" presStyleCnt="2">
        <dgm:presLayoutVars>
          <dgm:chPref val="3"/>
        </dgm:presLayoutVars>
      </dgm:prSet>
      <dgm:spPr/>
    </dgm:pt>
    <dgm:pt modelId="{FB561109-7D4C-4356-B1D8-287BBC2D0AFC}" type="pres">
      <dgm:prSet presAssocID="{544FA67E-DB5F-4EDE-945E-26D703C0AC57}" presName="hierChild3" presStyleCnt="0"/>
      <dgm:spPr/>
    </dgm:pt>
    <dgm:pt modelId="{79BBB88D-F79E-420E-B4CD-6FCAB712436A}" type="pres">
      <dgm:prSet presAssocID="{E564DB34-B5BC-4556-8675-6D44903A9B3E}" presName="Name17" presStyleLbl="parChTrans1D3" presStyleIdx="2" presStyleCnt="3"/>
      <dgm:spPr/>
    </dgm:pt>
    <dgm:pt modelId="{490E9C5A-6B16-4B06-BA2D-69D4EB1B83FB}" type="pres">
      <dgm:prSet presAssocID="{2C511AD8-477D-4DB9-9319-72D874E3E3F3}" presName="hierRoot3" presStyleCnt="0"/>
      <dgm:spPr/>
    </dgm:pt>
    <dgm:pt modelId="{C0125446-AAD6-4A79-A410-04B2F4043DDC}" type="pres">
      <dgm:prSet presAssocID="{2C511AD8-477D-4DB9-9319-72D874E3E3F3}" presName="composite3" presStyleCnt="0"/>
      <dgm:spPr/>
    </dgm:pt>
    <dgm:pt modelId="{6EEA81FD-9F30-4AE5-A0CA-5EB509F57571}" type="pres">
      <dgm:prSet presAssocID="{2C511AD8-477D-4DB9-9319-72D874E3E3F3}" presName="background3" presStyleLbl="asst1" presStyleIdx="6" presStyleCnt="7"/>
      <dgm:spPr/>
    </dgm:pt>
    <dgm:pt modelId="{3AC88097-B731-4CCE-9B3A-7D691B83B662}" type="pres">
      <dgm:prSet presAssocID="{2C511AD8-477D-4DB9-9319-72D874E3E3F3}" presName="text3" presStyleLbl="fgAcc3" presStyleIdx="2" presStyleCnt="3">
        <dgm:presLayoutVars>
          <dgm:chPref val="3"/>
        </dgm:presLayoutVars>
      </dgm:prSet>
      <dgm:spPr/>
    </dgm:pt>
    <dgm:pt modelId="{41A5B31A-5736-400C-B20C-49A611486498}" type="pres">
      <dgm:prSet presAssocID="{2C511AD8-477D-4DB9-9319-72D874E3E3F3}" presName="hierChild4" presStyleCnt="0"/>
      <dgm:spPr/>
    </dgm:pt>
    <dgm:pt modelId="{E4F879E2-C0BC-4074-BD00-D156D694C295}" type="pres">
      <dgm:prSet presAssocID="{BDB32371-6AD4-4923-AA80-AEB2DC2021C3}" presName="Name23" presStyleLbl="parChTrans1D4" presStyleIdx="6" presStyleCnt="9"/>
      <dgm:spPr/>
    </dgm:pt>
    <dgm:pt modelId="{CE0A67D3-A0A3-454E-9AEA-4CD1CA78862A}" type="pres">
      <dgm:prSet presAssocID="{81BFD521-4880-425A-8A60-F02DF6152F6F}" presName="hierRoot4" presStyleCnt="0"/>
      <dgm:spPr/>
    </dgm:pt>
    <dgm:pt modelId="{29E49720-B7FC-4D0F-91B4-9ED7DD407B40}" type="pres">
      <dgm:prSet presAssocID="{81BFD521-4880-425A-8A60-F02DF6152F6F}" presName="composite4" presStyleCnt="0"/>
      <dgm:spPr/>
    </dgm:pt>
    <dgm:pt modelId="{49A4CA4B-0BF5-4354-8ADD-ABF94A4600A9}" type="pres">
      <dgm:prSet presAssocID="{81BFD521-4880-425A-8A60-F02DF6152F6F}" presName="background4" presStyleLbl="node4" presStyleIdx="4" presStyleCnt="7"/>
      <dgm:spPr/>
    </dgm:pt>
    <dgm:pt modelId="{6D170C7B-1775-4B33-8F54-A1DC3299428C}" type="pres">
      <dgm:prSet presAssocID="{81BFD521-4880-425A-8A60-F02DF6152F6F}" presName="text4" presStyleLbl="fgAcc4" presStyleIdx="6" presStyleCnt="9">
        <dgm:presLayoutVars>
          <dgm:chPref val="3"/>
        </dgm:presLayoutVars>
      </dgm:prSet>
      <dgm:spPr/>
    </dgm:pt>
    <dgm:pt modelId="{3EAC586E-B3FC-4F7E-A1F5-9C9F3EDFB0E9}" type="pres">
      <dgm:prSet presAssocID="{81BFD521-4880-425A-8A60-F02DF6152F6F}" presName="hierChild5" presStyleCnt="0"/>
      <dgm:spPr/>
    </dgm:pt>
    <dgm:pt modelId="{0D1DB52B-A3F5-46F5-BD11-E41D07B07D09}" type="pres">
      <dgm:prSet presAssocID="{17D50722-2640-4A77-B829-6710EA23B74D}" presName="Name23" presStyleLbl="parChTrans1D4" presStyleIdx="7" presStyleCnt="9"/>
      <dgm:spPr/>
    </dgm:pt>
    <dgm:pt modelId="{E5AB1E97-88E2-42AB-A81B-69F158D09A46}" type="pres">
      <dgm:prSet presAssocID="{A65A4AF3-048A-46B2-8588-4CE1310CFA16}" presName="hierRoot4" presStyleCnt="0"/>
      <dgm:spPr/>
    </dgm:pt>
    <dgm:pt modelId="{F0BE4ACF-4B9E-465A-8A9D-E8BBF624A081}" type="pres">
      <dgm:prSet presAssocID="{A65A4AF3-048A-46B2-8588-4CE1310CFA16}" presName="composite4" presStyleCnt="0"/>
      <dgm:spPr/>
    </dgm:pt>
    <dgm:pt modelId="{C7EDBDF6-C93B-4F1F-A226-2FB4F2224798}" type="pres">
      <dgm:prSet presAssocID="{A65A4AF3-048A-46B2-8588-4CE1310CFA16}" presName="background4" presStyleLbl="node4" presStyleIdx="5" presStyleCnt="7"/>
      <dgm:spPr/>
    </dgm:pt>
    <dgm:pt modelId="{496A7C0A-CD79-49B2-8CDC-44687ECF29A4}" type="pres">
      <dgm:prSet presAssocID="{A65A4AF3-048A-46B2-8588-4CE1310CFA16}" presName="text4" presStyleLbl="fgAcc4" presStyleIdx="7" presStyleCnt="9">
        <dgm:presLayoutVars>
          <dgm:chPref val="3"/>
        </dgm:presLayoutVars>
      </dgm:prSet>
      <dgm:spPr/>
    </dgm:pt>
    <dgm:pt modelId="{8F9354D5-6D81-4570-B9B7-9CF69AAF06DC}" type="pres">
      <dgm:prSet presAssocID="{A65A4AF3-048A-46B2-8588-4CE1310CFA16}" presName="hierChild5" presStyleCnt="0"/>
      <dgm:spPr/>
    </dgm:pt>
    <dgm:pt modelId="{5FC1BA09-0F58-4B74-A10C-C9910ADFF4E3}" type="pres">
      <dgm:prSet presAssocID="{10ABDE64-8361-4F27-9444-8188EF3823FE}" presName="Name23" presStyleLbl="parChTrans1D4" presStyleIdx="8" presStyleCnt="9"/>
      <dgm:spPr/>
    </dgm:pt>
    <dgm:pt modelId="{0677ABD6-86E8-4479-B498-468CEAE3D33F}" type="pres">
      <dgm:prSet presAssocID="{26EFBC27-EE85-47F8-A685-2E76418B49C5}" presName="hierRoot4" presStyleCnt="0"/>
      <dgm:spPr/>
    </dgm:pt>
    <dgm:pt modelId="{A092952E-E25D-4E79-8523-F1E6700F70A9}" type="pres">
      <dgm:prSet presAssocID="{26EFBC27-EE85-47F8-A685-2E76418B49C5}" presName="composite4" presStyleCnt="0"/>
      <dgm:spPr/>
    </dgm:pt>
    <dgm:pt modelId="{306C1202-F573-454C-A119-2C2657D3898D}" type="pres">
      <dgm:prSet presAssocID="{26EFBC27-EE85-47F8-A685-2E76418B49C5}" presName="background4" presStyleLbl="node4" presStyleIdx="6" presStyleCnt="7"/>
      <dgm:spPr/>
    </dgm:pt>
    <dgm:pt modelId="{10596382-371C-41CD-966D-BB2AE8E56D71}" type="pres">
      <dgm:prSet presAssocID="{26EFBC27-EE85-47F8-A685-2E76418B49C5}" presName="text4" presStyleLbl="fgAcc4" presStyleIdx="8" presStyleCnt="9">
        <dgm:presLayoutVars>
          <dgm:chPref val="3"/>
        </dgm:presLayoutVars>
      </dgm:prSet>
      <dgm:spPr/>
    </dgm:pt>
    <dgm:pt modelId="{229433E7-1636-4A0C-AFA6-29A8A1210710}" type="pres">
      <dgm:prSet presAssocID="{26EFBC27-EE85-47F8-A685-2E76418B49C5}" presName="hierChild5" presStyleCnt="0"/>
      <dgm:spPr/>
    </dgm:pt>
  </dgm:ptLst>
  <dgm:cxnLst>
    <dgm:cxn modelId="{15D6EF04-27DB-46EE-919C-ABEF53C26DFD}" srcId="{2C511AD8-477D-4DB9-9319-72D874E3E3F3}" destId="{26EFBC27-EE85-47F8-A685-2E76418B49C5}" srcOrd="2" destOrd="0" parTransId="{10ABDE64-8361-4F27-9444-8188EF3823FE}" sibTransId="{9A6E19D2-ED07-45F4-92F4-4BF6709400E1}"/>
    <dgm:cxn modelId="{DC24780D-8E5A-41EB-8568-2544B3918666}" srcId="{09DF6E6A-05DF-489F-B03D-6C9A7F4D6E47}" destId="{1D8055DD-53BE-444F-A241-833DB8497528}" srcOrd="0" destOrd="0" parTransId="{6A76AB85-0550-460D-B0E4-AA49E3EF948C}" sibTransId="{CD594743-3D05-43DB-9EF5-A841BE8F31BF}"/>
    <dgm:cxn modelId="{16A50B1A-CD3C-402F-9258-5804ACD81C52}" srcId="{D5B6439B-280D-4DA2-AB30-6B340275840E}" destId="{C14A6520-4094-4778-A718-CD957BB4ECA0}" srcOrd="0" destOrd="0" parTransId="{296C6FD6-0377-49A5-8BCC-F1ABFE61A8D5}" sibTransId="{8A1BB7E3-8422-4246-93D4-168D5FEA1829}"/>
    <dgm:cxn modelId="{2190131D-92FF-4501-9E01-9AB5505A2B47}" type="presOf" srcId="{E564DB34-B5BC-4556-8675-6D44903A9B3E}" destId="{79BBB88D-F79E-420E-B4CD-6FCAB712436A}" srcOrd="0" destOrd="0" presId="urn:microsoft.com/office/officeart/2005/8/layout/hierarchy1"/>
    <dgm:cxn modelId="{F7389E1F-4B66-4592-93A3-8C85037AEB60}" type="presOf" srcId="{2866E49C-FE57-4A8B-A357-CC65B88D5CA4}" destId="{F3D2679F-8F04-4471-98C7-B9AE86C198F0}" srcOrd="0" destOrd="0" presId="urn:microsoft.com/office/officeart/2005/8/layout/hierarchy1"/>
    <dgm:cxn modelId="{4B658722-9B12-4A00-8CA3-9A04DF67611E}" type="presOf" srcId="{F52DA10F-E523-4283-9818-6EF8999CEB6A}" destId="{C23993E0-2873-4F2F-A719-7111BAA57038}" srcOrd="0" destOrd="0" presId="urn:microsoft.com/office/officeart/2005/8/layout/hierarchy1"/>
    <dgm:cxn modelId="{95A7DF24-AA65-49C0-97B2-64E6F6D29C25}" type="presOf" srcId="{258E0910-D5DC-4A42-BED8-2F8C1CDFAE22}" destId="{8A5C7BD4-1E91-4CF0-BAD2-410253084A7B}" srcOrd="0" destOrd="0" presId="urn:microsoft.com/office/officeart/2005/8/layout/hierarchy1"/>
    <dgm:cxn modelId="{AC32182C-525C-4B76-946C-262248931FDF}" type="presOf" srcId="{A65A4AF3-048A-46B2-8588-4CE1310CFA16}" destId="{496A7C0A-CD79-49B2-8CDC-44687ECF29A4}" srcOrd="0" destOrd="0" presId="urn:microsoft.com/office/officeart/2005/8/layout/hierarchy1"/>
    <dgm:cxn modelId="{172F9430-CE8B-483E-8C45-D3B65627C4E0}" type="presOf" srcId="{F9754714-67E1-41BB-B570-C7FB32F06BB9}" destId="{29427F3A-66BD-4878-8119-1403137EF23C}" srcOrd="0" destOrd="0" presId="urn:microsoft.com/office/officeart/2005/8/layout/hierarchy1"/>
    <dgm:cxn modelId="{CDC13F32-AA0C-4047-84C3-5943BA88FB1E}" type="presOf" srcId="{3D9F613E-FF0C-45A1-A157-D543E7C05E6F}" destId="{DB88B594-C67E-4903-8B5F-E6B6CDF9DEC1}" srcOrd="0" destOrd="0" presId="urn:microsoft.com/office/officeart/2005/8/layout/hierarchy1"/>
    <dgm:cxn modelId="{982C3F5E-3979-4393-BA7F-9353AD308975}" type="presOf" srcId="{26EFBC27-EE85-47F8-A685-2E76418B49C5}" destId="{10596382-371C-41CD-966D-BB2AE8E56D71}" srcOrd="0" destOrd="0" presId="urn:microsoft.com/office/officeart/2005/8/layout/hierarchy1"/>
    <dgm:cxn modelId="{2401C65E-36E1-4DB9-B891-2B31797B606F}" type="presOf" srcId="{2C8C87D6-940A-49AE-B059-C0D06433FA76}" destId="{41949079-0EC9-462B-8016-D578773ABF1F}" srcOrd="0" destOrd="0" presId="urn:microsoft.com/office/officeart/2005/8/layout/hierarchy1"/>
    <dgm:cxn modelId="{5B103641-232F-438D-856F-0C2539C1D853}" type="presOf" srcId="{2C511AD8-477D-4DB9-9319-72D874E3E3F3}" destId="{3AC88097-B731-4CCE-9B3A-7D691B83B662}" srcOrd="0" destOrd="0" presId="urn:microsoft.com/office/officeart/2005/8/layout/hierarchy1"/>
    <dgm:cxn modelId="{700E6E42-75A3-4FAE-A9B1-CBDB2FFBEB8F}" type="presOf" srcId="{D5B6439B-280D-4DA2-AB30-6B340275840E}" destId="{F4B8646C-925D-47B0-BBC7-005B54AE717C}" srcOrd="0" destOrd="0" presId="urn:microsoft.com/office/officeart/2005/8/layout/hierarchy1"/>
    <dgm:cxn modelId="{16838D42-4B80-4C2F-8F8F-995A26AFA0DD}" type="presOf" srcId="{3FF05808-77DE-40F3-8328-CCF7E9FBF8B3}" destId="{4FFF1C42-7FA4-4A6B-B453-6014BCD7A223}" srcOrd="0" destOrd="0" presId="urn:microsoft.com/office/officeart/2005/8/layout/hierarchy1"/>
    <dgm:cxn modelId="{76B4F562-EAB2-4BD6-81EC-7E58FFA75694}" type="presOf" srcId="{BAD25CEE-EF9B-4055-B4EE-F6118F4CCFE9}" destId="{4D0CD664-4A7B-469E-8C74-7C7D94D9E798}" srcOrd="0" destOrd="0" presId="urn:microsoft.com/office/officeart/2005/8/layout/hierarchy1"/>
    <dgm:cxn modelId="{CC395046-BB39-4F1F-B419-E9CFC2DDDC2A}" srcId="{2C511AD8-477D-4DB9-9319-72D874E3E3F3}" destId="{81BFD521-4880-425A-8A60-F02DF6152F6F}" srcOrd="0" destOrd="0" parTransId="{BDB32371-6AD4-4923-AA80-AEB2DC2021C3}" sibTransId="{12DF02C6-B928-4399-83BE-9DB6BBDB4CAD}"/>
    <dgm:cxn modelId="{FFB0734D-0F77-4E60-9765-52614B0FC3EC}" srcId="{A5FCE08E-6A09-4E26-9658-C5B0286BC8F4}" destId="{BAD25CEE-EF9B-4055-B4EE-F6118F4CCFE9}" srcOrd="2" destOrd="0" parTransId="{258E0910-D5DC-4A42-BED8-2F8C1CDFAE22}" sibTransId="{8E8E31A5-DFE2-4D47-8B33-1186A776B368}"/>
    <dgm:cxn modelId="{C99A2670-72B5-40F5-9269-7698D5B08736}" type="presOf" srcId="{544FA67E-DB5F-4EDE-945E-26D703C0AC57}" destId="{CF962B25-E188-46D1-BB7B-FD072D5F9FBC}" srcOrd="0" destOrd="0" presId="urn:microsoft.com/office/officeart/2005/8/layout/hierarchy1"/>
    <dgm:cxn modelId="{69A59F71-3B7C-4D4D-A30C-38E87643BB2C}" srcId="{C14A6520-4094-4778-A718-CD957BB4ECA0}" destId="{2C8C87D6-940A-49AE-B059-C0D06433FA76}" srcOrd="2" destOrd="0" parTransId="{661EE8F9-E011-431E-A0C7-9394331FCF22}" sibTransId="{948ED436-48EF-4AA7-BFF9-096ECC5EA6EF}"/>
    <dgm:cxn modelId="{AB6A1872-E73A-4887-BEE3-D32FE9679C4B}" type="presOf" srcId="{687882E4-8BFF-4377-9E83-168E1457F86C}" destId="{5D07AA4F-4711-42BE-B633-E540C3185D9D}" srcOrd="0" destOrd="0" presId="urn:microsoft.com/office/officeart/2005/8/layout/hierarchy1"/>
    <dgm:cxn modelId="{CAA52472-636E-4368-ACF3-63B680369C80}" srcId="{D5B6439B-280D-4DA2-AB30-6B340275840E}" destId="{A5FCE08E-6A09-4E26-9658-C5B0286BC8F4}" srcOrd="1" destOrd="0" parTransId="{3FF05808-77DE-40F3-8328-CCF7E9FBF8B3}" sibTransId="{4435C279-5960-4509-A21B-AC89AC0824E6}"/>
    <dgm:cxn modelId="{59755157-36F6-4960-BC2F-109B285C8BBF}" type="presOf" srcId="{A5FCE08E-6A09-4E26-9658-C5B0286BC8F4}" destId="{5C835A61-30C1-4BCB-B259-12939A9A1F54}" srcOrd="0" destOrd="0" presId="urn:microsoft.com/office/officeart/2005/8/layout/hierarchy1"/>
    <dgm:cxn modelId="{1C2CB378-3E4A-423D-9585-9ABA03CD7FF5}" type="presOf" srcId="{17D50722-2640-4A77-B829-6710EA23B74D}" destId="{0D1DB52B-A3F5-46F5-BD11-E41D07B07D09}" srcOrd="0" destOrd="0" presId="urn:microsoft.com/office/officeart/2005/8/layout/hierarchy1"/>
    <dgm:cxn modelId="{D9BA2179-958C-4820-9A73-CB3091C8D9E9}" srcId="{C14A6520-4094-4778-A718-CD957BB4ECA0}" destId="{306F5B30-0478-4D68-8C0F-4CEAC93C38C1}" srcOrd="0" destOrd="0" parTransId="{F0733750-DD2B-44B0-9224-4E7362ADBFD8}" sibTransId="{5A3C6A3B-3061-430F-A233-586EB9A705EA}"/>
    <dgm:cxn modelId="{42569459-6632-4672-8E89-50B7DCC4A16E}" type="presOf" srcId="{F245885C-AF2C-4614-9351-7446991E6E62}" destId="{E88ECEDF-FF34-427B-AA9E-32113924E141}" srcOrd="0" destOrd="0" presId="urn:microsoft.com/office/officeart/2005/8/layout/hierarchy1"/>
    <dgm:cxn modelId="{F56AEF87-9585-4D76-9251-D6DD3686A459}" type="presOf" srcId="{661EE8F9-E011-431E-A0C7-9394331FCF22}" destId="{D41F2B3E-5801-4B11-A005-10BAE2AD015F}" srcOrd="0" destOrd="0" presId="urn:microsoft.com/office/officeart/2005/8/layout/hierarchy1"/>
    <dgm:cxn modelId="{51966A8D-81EC-4CB0-89C7-4555563CEF78}" srcId="{2C511AD8-477D-4DB9-9319-72D874E3E3F3}" destId="{A65A4AF3-048A-46B2-8588-4CE1310CFA16}" srcOrd="1" destOrd="0" parTransId="{17D50722-2640-4A77-B829-6710EA23B74D}" sibTransId="{5889490E-C184-4E31-AED0-765BED6C455F}"/>
    <dgm:cxn modelId="{E9665C9D-C941-40FF-99DB-06C697D55338}" srcId="{1D8055DD-53BE-444F-A241-833DB8497528}" destId="{544FA67E-DB5F-4EDE-945E-26D703C0AC57}" srcOrd="1" destOrd="0" parTransId="{2866E49C-FE57-4A8B-A357-CC65B88D5CA4}" sibTransId="{E61276AD-038C-45E7-AF81-E0F45E218165}"/>
    <dgm:cxn modelId="{0BE150AA-C3B5-401F-84AC-4F783CD44F03}" srcId="{C14A6520-4094-4778-A718-CD957BB4ECA0}" destId="{BBADD06C-8638-4198-BF7A-685CF5899109}" srcOrd="1" destOrd="0" parTransId="{F52DA10F-E523-4283-9818-6EF8999CEB6A}" sibTransId="{54877B0A-ED36-4766-AA45-AB207C21AEF5}"/>
    <dgm:cxn modelId="{5A83CDAB-4D13-4E7D-B0C1-6E65BAE38D5F}" type="presOf" srcId="{296C6FD6-0377-49A5-8BCC-F1ABFE61A8D5}" destId="{94A17DB7-FE71-465C-9E61-C4FA0F117408}" srcOrd="0" destOrd="0" presId="urn:microsoft.com/office/officeart/2005/8/layout/hierarchy1"/>
    <dgm:cxn modelId="{E5F8DAAB-4E49-4F2D-AAD1-03A4E1A35BAD}" type="presOf" srcId="{1D8055DD-53BE-444F-A241-833DB8497528}" destId="{68D601E7-2250-4BFF-9557-C27D06259E4B}" srcOrd="0" destOrd="0" presId="urn:microsoft.com/office/officeart/2005/8/layout/hierarchy1"/>
    <dgm:cxn modelId="{BDE163AF-F351-477D-940D-9C75E6DBB7D0}" type="presOf" srcId="{D0F2D3D4-71F4-4C8C-AD4E-6CD97BB5FDB2}" destId="{AB6D3B87-BE80-447B-AC9A-4B74A17A5D0A}" srcOrd="0" destOrd="0" presId="urn:microsoft.com/office/officeart/2005/8/layout/hierarchy1"/>
    <dgm:cxn modelId="{B50028B1-CF44-4428-BA52-BD141AB465FE}" type="presOf" srcId="{306F5B30-0478-4D68-8C0F-4CEAC93C38C1}" destId="{73B28AB6-4A59-42BF-AA3D-564284C506A8}" srcOrd="0" destOrd="0" presId="urn:microsoft.com/office/officeart/2005/8/layout/hierarchy1"/>
    <dgm:cxn modelId="{41F8BFBF-54FF-4B42-92CB-535004D10466}" type="presOf" srcId="{BBADD06C-8638-4198-BF7A-685CF5899109}" destId="{A6CC260F-1D85-42E6-8400-2798A95B8BFD}" srcOrd="0" destOrd="0" presId="urn:microsoft.com/office/officeart/2005/8/layout/hierarchy1"/>
    <dgm:cxn modelId="{EA34B4C3-9F61-4207-B22C-57F251861DD8}" type="presOf" srcId="{BDB32371-6AD4-4923-AA80-AEB2DC2021C3}" destId="{E4F879E2-C0BC-4074-BD00-D156D694C295}" srcOrd="0" destOrd="0" presId="urn:microsoft.com/office/officeart/2005/8/layout/hierarchy1"/>
    <dgm:cxn modelId="{F278AAC6-1E2A-4AB6-BFBC-749083B76363}" srcId="{A5FCE08E-6A09-4E26-9658-C5B0286BC8F4}" destId="{3D9F613E-FF0C-45A1-A157-D543E7C05E6F}" srcOrd="0" destOrd="0" parTransId="{F9754714-67E1-41BB-B570-C7FB32F06BB9}" sibTransId="{D5966EC5-74D5-45FE-80D0-FE31D11B3B09}"/>
    <dgm:cxn modelId="{221194C7-08CB-4049-90D7-1E9AAE0D63BD}" type="presOf" srcId="{09DF6E6A-05DF-489F-B03D-6C9A7F4D6E47}" destId="{61EED68C-CDCB-4F46-8A1F-26A0BA99D25A}" srcOrd="0" destOrd="0" presId="urn:microsoft.com/office/officeart/2005/8/layout/hierarchy1"/>
    <dgm:cxn modelId="{FC6E45D0-2A15-49FE-9697-43FFE2253BBF}" srcId="{544FA67E-DB5F-4EDE-945E-26D703C0AC57}" destId="{2C511AD8-477D-4DB9-9319-72D874E3E3F3}" srcOrd="0" destOrd="0" parTransId="{E564DB34-B5BC-4556-8675-6D44903A9B3E}" sibTransId="{2FF28BF3-A880-44BA-A7F6-240F6BB4D565}"/>
    <dgm:cxn modelId="{776926DF-7926-4C2E-8D1D-FFB7A73132D8}" type="presOf" srcId="{10ABDE64-8361-4F27-9444-8188EF3823FE}" destId="{5FC1BA09-0F58-4B74-A10C-C9910ADFF4E3}" srcOrd="0" destOrd="0" presId="urn:microsoft.com/office/officeart/2005/8/layout/hierarchy1"/>
    <dgm:cxn modelId="{AF27DBE4-EAFC-49EE-A0D5-B817CBB0F627}" type="presOf" srcId="{C14A6520-4094-4778-A718-CD957BB4ECA0}" destId="{2C476A9F-1A33-44CF-9BAC-019A0A457FAF}" srcOrd="0" destOrd="0" presId="urn:microsoft.com/office/officeart/2005/8/layout/hierarchy1"/>
    <dgm:cxn modelId="{A61218E9-5375-4A1B-A9D3-C366C839D5B9}" type="presOf" srcId="{81BFD521-4880-425A-8A60-F02DF6152F6F}" destId="{6D170C7B-1775-4B33-8F54-A1DC3299428C}" srcOrd="0" destOrd="0" presId="urn:microsoft.com/office/officeart/2005/8/layout/hierarchy1"/>
    <dgm:cxn modelId="{33C01AEA-AF30-4734-9E6F-151B5001D188}" srcId="{A5FCE08E-6A09-4E26-9658-C5B0286BC8F4}" destId="{687882E4-8BFF-4377-9E83-168E1457F86C}" srcOrd="1" destOrd="0" parTransId="{F245885C-AF2C-4614-9351-7446991E6E62}" sibTransId="{50BCB7AC-06FC-4AAF-9E4A-B88D0A830624}"/>
    <dgm:cxn modelId="{5B0FAAEE-DA32-4658-8133-831F333D3502}" type="presOf" srcId="{F0733750-DD2B-44B0-9224-4E7362ADBFD8}" destId="{E0EEFCF0-28D8-4D2D-BCD7-33E7FBEC42CF}" srcOrd="0" destOrd="0" presId="urn:microsoft.com/office/officeart/2005/8/layout/hierarchy1"/>
    <dgm:cxn modelId="{032F66F7-5585-417C-B9F5-EB1AEFE0E2E5}" srcId="{1D8055DD-53BE-444F-A241-833DB8497528}" destId="{D5B6439B-280D-4DA2-AB30-6B340275840E}" srcOrd="0" destOrd="0" parTransId="{D0F2D3D4-71F4-4C8C-AD4E-6CD97BB5FDB2}" sibTransId="{2E74345E-4C3A-4098-BF78-6C3D5484F9BE}"/>
    <dgm:cxn modelId="{D88B471E-97A6-4F20-BFA7-54799AAC0858}" type="presParOf" srcId="{61EED68C-CDCB-4F46-8A1F-26A0BA99D25A}" destId="{5B71C4EF-9EBD-42DE-BC8B-0705166D182F}" srcOrd="0" destOrd="0" presId="urn:microsoft.com/office/officeart/2005/8/layout/hierarchy1"/>
    <dgm:cxn modelId="{80532D89-D6E2-407F-A7B5-B642DB5D7AC2}" type="presParOf" srcId="{5B71C4EF-9EBD-42DE-BC8B-0705166D182F}" destId="{41D56E92-203F-40C0-A494-C691EF4E2541}" srcOrd="0" destOrd="0" presId="urn:microsoft.com/office/officeart/2005/8/layout/hierarchy1"/>
    <dgm:cxn modelId="{4319461A-60BD-417C-A323-AEC067F8E7FD}" type="presParOf" srcId="{41D56E92-203F-40C0-A494-C691EF4E2541}" destId="{A048E00D-5A75-4C19-BE65-D30074CB9AAF}" srcOrd="0" destOrd="0" presId="urn:microsoft.com/office/officeart/2005/8/layout/hierarchy1"/>
    <dgm:cxn modelId="{60B6E91E-1B42-4762-A4ED-70A8472B8000}" type="presParOf" srcId="{41D56E92-203F-40C0-A494-C691EF4E2541}" destId="{68D601E7-2250-4BFF-9557-C27D06259E4B}" srcOrd="1" destOrd="0" presId="urn:microsoft.com/office/officeart/2005/8/layout/hierarchy1"/>
    <dgm:cxn modelId="{1BC07227-D89B-4893-B262-BA6C8074F2BF}" type="presParOf" srcId="{5B71C4EF-9EBD-42DE-BC8B-0705166D182F}" destId="{8B4EA6FD-270C-4C19-BBAB-313E096FF906}" srcOrd="1" destOrd="0" presId="urn:microsoft.com/office/officeart/2005/8/layout/hierarchy1"/>
    <dgm:cxn modelId="{9A729836-5348-44B5-B90F-232B528AAD70}" type="presParOf" srcId="{8B4EA6FD-270C-4C19-BBAB-313E096FF906}" destId="{AB6D3B87-BE80-447B-AC9A-4B74A17A5D0A}" srcOrd="0" destOrd="0" presId="urn:microsoft.com/office/officeart/2005/8/layout/hierarchy1"/>
    <dgm:cxn modelId="{FD23A526-CC8F-4576-971C-87B84F6E273A}" type="presParOf" srcId="{8B4EA6FD-270C-4C19-BBAB-313E096FF906}" destId="{720AB30E-F14D-4978-A7D7-BE3331640CFC}" srcOrd="1" destOrd="0" presId="urn:microsoft.com/office/officeart/2005/8/layout/hierarchy1"/>
    <dgm:cxn modelId="{97844E5B-CF86-4838-B265-40A4F5B3E98D}" type="presParOf" srcId="{720AB30E-F14D-4978-A7D7-BE3331640CFC}" destId="{71EF9132-A501-4879-AD04-347D673A9F81}" srcOrd="0" destOrd="0" presId="urn:microsoft.com/office/officeart/2005/8/layout/hierarchy1"/>
    <dgm:cxn modelId="{8DF06932-955F-46B9-AB92-154B77619D06}" type="presParOf" srcId="{71EF9132-A501-4879-AD04-347D673A9F81}" destId="{71072238-5115-44C6-B263-21D794DC9DB3}" srcOrd="0" destOrd="0" presId="urn:microsoft.com/office/officeart/2005/8/layout/hierarchy1"/>
    <dgm:cxn modelId="{914416F5-B466-49E5-AD46-F7D2244E82DF}" type="presParOf" srcId="{71EF9132-A501-4879-AD04-347D673A9F81}" destId="{F4B8646C-925D-47B0-BBC7-005B54AE717C}" srcOrd="1" destOrd="0" presId="urn:microsoft.com/office/officeart/2005/8/layout/hierarchy1"/>
    <dgm:cxn modelId="{EA7C5B23-7855-4C61-A756-4CAB816A1CE6}" type="presParOf" srcId="{720AB30E-F14D-4978-A7D7-BE3331640CFC}" destId="{152DED93-A9AB-4BB0-AEB8-331D2BD9D560}" srcOrd="1" destOrd="0" presId="urn:microsoft.com/office/officeart/2005/8/layout/hierarchy1"/>
    <dgm:cxn modelId="{8F5AAB00-50EE-4C09-9089-9C194A72829D}" type="presParOf" srcId="{152DED93-A9AB-4BB0-AEB8-331D2BD9D560}" destId="{94A17DB7-FE71-465C-9E61-C4FA0F117408}" srcOrd="0" destOrd="0" presId="urn:microsoft.com/office/officeart/2005/8/layout/hierarchy1"/>
    <dgm:cxn modelId="{56E18CAE-BEBC-47F6-98EA-95E2D0D1660C}" type="presParOf" srcId="{152DED93-A9AB-4BB0-AEB8-331D2BD9D560}" destId="{0258551C-374A-4355-A055-17302827C83D}" srcOrd="1" destOrd="0" presId="urn:microsoft.com/office/officeart/2005/8/layout/hierarchy1"/>
    <dgm:cxn modelId="{26546A32-3A65-44C3-A45C-4BCE6CD47394}" type="presParOf" srcId="{0258551C-374A-4355-A055-17302827C83D}" destId="{8131292D-19CC-49AC-9983-4E6C857469CB}" srcOrd="0" destOrd="0" presId="urn:microsoft.com/office/officeart/2005/8/layout/hierarchy1"/>
    <dgm:cxn modelId="{218F8AC9-40F9-48B9-B3A8-0ED984A5326D}" type="presParOf" srcId="{8131292D-19CC-49AC-9983-4E6C857469CB}" destId="{8F30E7E9-A2AA-4CB3-B42B-36C0F8E10597}" srcOrd="0" destOrd="0" presId="urn:microsoft.com/office/officeart/2005/8/layout/hierarchy1"/>
    <dgm:cxn modelId="{05604F77-1EAF-489C-ADE8-3FFA3EA9E763}" type="presParOf" srcId="{8131292D-19CC-49AC-9983-4E6C857469CB}" destId="{2C476A9F-1A33-44CF-9BAC-019A0A457FAF}" srcOrd="1" destOrd="0" presId="urn:microsoft.com/office/officeart/2005/8/layout/hierarchy1"/>
    <dgm:cxn modelId="{01403B71-91A9-490F-9F5A-62C7133C9307}" type="presParOf" srcId="{0258551C-374A-4355-A055-17302827C83D}" destId="{D4F06BA6-CACC-4F71-8328-310C0F1E4345}" srcOrd="1" destOrd="0" presId="urn:microsoft.com/office/officeart/2005/8/layout/hierarchy1"/>
    <dgm:cxn modelId="{58DC525F-CCDB-46EE-918D-7710C69769DA}" type="presParOf" srcId="{D4F06BA6-CACC-4F71-8328-310C0F1E4345}" destId="{E0EEFCF0-28D8-4D2D-BCD7-33E7FBEC42CF}" srcOrd="0" destOrd="0" presId="urn:microsoft.com/office/officeart/2005/8/layout/hierarchy1"/>
    <dgm:cxn modelId="{E7B38788-4994-48A5-9D7E-F9861808A102}" type="presParOf" srcId="{D4F06BA6-CACC-4F71-8328-310C0F1E4345}" destId="{23D028C4-67DA-4C98-A160-535806CBC87B}" srcOrd="1" destOrd="0" presId="urn:microsoft.com/office/officeart/2005/8/layout/hierarchy1"/>
    <dgm:cxn modelId="{CAAF3D48-8341-4258-A58A-8B3807BC0C7F}" type="presParOf" srcId="{23D028C4-67DA-4C98-A160-535806CBC87B}" destId="{95A5E5B2-7694-4FD0-A1BC-EDE1D5469CE3}" srcOrd="0" destOrd="0" presId="urn:microsoft.com/office/officeart/2005/8/layout/hierarchy1"/>
    <dgm:cxn modelId="{6D96CE54-E580-49B5-9578-DE2D98CAEB74}" type="presParOf" srcId="{95A5E5B2-7694-4FD0-A1BC-EDE1D5469CE3}" destId="{7591DADB-D829-4387-9212-31D41578E964}" srcOrd="0" destOrd="0" presId="urn:microsoft.com/office/officeart/2005/8/layout/hierarchy1"/>
    <dgm:cxn modelId="{9EBE80F7-14E0-4532-9F57-B1D0392D5EA4}" type="presParOf" srcId="{95A5E5B2-7694-4FD0-A1BC-EDE1D5469CE3}" destId="{73B28AB6-4A59-42BF-AA3D-564284C506A8}" srcOrd="1" destOrd="0" presId="urn:microsoft.com/office/officeart/2005/8/layout/hierarchy1"/>
    <dgm:cxn modelId="{449710DD-F46F-452E-BDA4-D4CB662FF14F}" type="presParOf" srcId="{23D028C4-67DA-4C98-A160-535806CBC87B}" destId="{4363D2B7-2EB6-4892-B67E-F401B2849887}" srcOrd="1" destOrd="0" presId="urn:microsoft.com/office/officeart/2005/8/layout/hierarchy1"/>
    <dgm:cxn modelId="{ACE94BD7-0DE2-4E84-A2B1-8080DBAD4BB0}" type="presParOf" srcId="{D4F06BA6-CACC-4F71-8328-310C0F1E4345}" destId="{C23993E0-2873-4F2F-A719-7111BAA57038}" srcOrd="2" destOrd="0" presId="urn:microsoft.com/office/officeart/2005/8/layout/hierarchy1"/>
    <dgm:cxn modelId="{5330DB0D-8385-4656-9F5C-4794499720FE}" type="presParOf" srcId="{D4F06BA6-CACC-4F71-8328-310C0F1E4345}" destId="{7A9DB2D7-C61A-4914-AB2D-A7F2501515DE}" srcOrd="3" destOrd="0" presId="urn:microsoft.com/office/officeart/2005/8/layout/hierarchy1"/>
    <dgm:cxn modelId="{788A01D3-74D6-492B-8230-097219F4285E}" type="presParOf" srcId="{7A9DB2D7-C61A-4914-AB2D-A7F2501515DE}" destId="{66F220F1-019C-4FB2-99FE-58264B144C02}" srcOrd="0" destOrd="0" presId="urn:microsoft.com/office/officeart/2005/8/layout/hierarchy1"/>
    <dgm:cxn modelId="{2AE42786-C96B-43A2-A3A4-A31A4D72C5FA}" type="presParOf" srcId="{66F220F1-019C-4FB2-99FE-58264B144C02}" destId="{F549ED74-D234-4022-86FB-257C1D293D82}" srcOrd="0" destOrd="0" presId="urn:microsoft.com/office/officeart/2005/8/layout/hierarchy1"/>
    <dgm:cxn modelId="{2EBF3C4A-0A30-474D-9400-82B4260DF6BE}" type="presParOf" srcId="{66F220F1-019C-4FB2-99FE-58264B144C02}" destId="{A6CC260F-1D85-42E6-8400-2798A95B8BFD}" srcOrd="1" destOrd="0" presId="urn:microsoft.com/office/officeart/2005/8/layout/hierarchy1"/>
    <dgm:cxn modelId="{4C5AF6E4-0033-4158-B2B4-B8835FD8DD03}" type="presParOf" srcId="{7A9DB2D7-C61A-4914-AB2D-A7F2501515DE}" destId="{46F9DD1B-650A-45C9-AFF6-5CDB2DD9A528}" srcOrd="1" destOrd="0" presId="urn:microsoft.com/office/officeart/2005/8/layout/hierarchy1"/>
    <dgm:cxn modelId="{862BCAF3-993F-4001-88F3-6B1485066656}" type="presParOf" srcId="{D4F06BA6-CACC-4F71-8328-310C0F1E4345}" destId="{D41F2B3E-5801-4B11-A005-10BAE2AD015F}" srcOrd="4" destOrd="0" presId="urn:microsoft.com/office/officeart/2005/8/layout/hierarchy1"/>
    <dgm:cxn modelId="{DEFAB213-22B2-4CC0-835D-30FDF40DDB04}" type="presParOf" srcId="{D4F06BA6-CACC-4F71-8328-310C0F1E4345}" destId="{E8726763-D2F8-49F5-9AFD-87889BEEF714}" srcOrd="5" destOrd="0" presId="urn:microsoft.com/office/officeart/2005/8/layout/hierarchy1"/>
    <dgm:cxn modelId="{FDD98E59-F0C6-4ED2-B261-D593D9797719}" type="presParOf" srcId="{E8726763-D2F8-49F5-9AFD-87889BEEF714}" destId="{0A22D7BF-6547-49E7-9D88-B776B721AF1E}" srcOrd="0" destOrd="0" presId="urn:microsoft.com/office/officeart/2005/8/layout/hierarchy1"/>
    <dgm:cxn modelId="{EE31AD42-152E-436B-9769-F3FFAB32ADCE}" type="presParOf" srcId="{0A22D7BF-6547-49E7-9D88-B776B721AF1E}" destId="{1E2B801F-8E8F-4E69-9E96-FD6F06E58C67}" srcOrd="0" destOrd="0" presId="urn:microsoft.com/office/officeart/2005/8/layout/hierarchy1"/>
    <dgm:cxn modelId="{14A0BE51-77D0-4662-A16E-C42A74C571A8}" type="presParOf" srcId="{0A22D7BF-6547-49E7-9D88-B776B721AF1E}" destId="{41949079-0EC9-462B-8016-D578773ABF1F}" srcOrd="1" destOrd="0" presId="urn:microsoft.com/office/officeart/2005/8/layout/hierarchy1"/>
    <dgm:cxn modelId="{31933100-3999-4D10-B082-8E4A66C42777}" type="presParOf" srcId="{E8726763-D2F8-49F5-9AFD-87889BEEF714}" destId="{7F692953-C8FA-4909-B547-8D111E6884FA}" srcOrd="1" destOrd="0" presId="urn:microsoft.com/office/officeart/2005/8/layout/hierarchy1"/>
    <dgm:cxn modelId="{3BD130F2-CD7B-4346-A2CE-EAD93969DA31}" type="presParOf" srcId="{152DED93-A9AB-4BB0-AEB8-331D2BD9D560}" destId="{4FFF1C42-7FA4-4A6B-B453-6014BCD7A223}" srcOrd="2" destOrd="0" presId="urn:microsoft.com/office/officeart/2005/8/layout/hierarchy1"/>
    <dgm:cxn modelId="{70A85D1A-9848-4F74-B305-E1084D5FE8CB}" type="presParOf" srcId="{152DED93-A9AB-4BB0-AEB8-331D2BD9D560}" destId="{CBD2A0CE-20D7-4B2C-8DDF-1675BBA8485C}" srcOrd="3" destOrd="0" presId="urn:microsoft.com/office/officeart/2005/8/layout/hierarchy1"/>
    <dgm:cxn modelId="{A296E2D4-3B7A-4569-8558-8329CB52B7E4}" type="presParOf" srcId="{CBD2A0CE-20D7-4B2C-8DDF-1675BBA8485C}" destId="{F26A0A1E-F74E-4F97-B45C-2C04FA12A68F}" srcOrd="0" destOrd="0" presId="urn:microsoft.com/office/officeart/2005/8/layout/hierarchy1"/>
    <dgm:cxn modelId="{A9864CD6-8C2E-463A-B5B1-AEE7313CC31F}" type="presParOf" srcId="{F26A0A1E-F74E-4F97-B45C-2C04FA12A68F}" destId="{84EB2C9B-482A-44E9-845C-5B946705931B}" srcOrd="0" destOrd="0" presId="urn:microsoft.com/office/officeart/2005/8/layout/hierarchy1"/>
    <dgm:cxn modelId="{60E85BF7-3363-4D84-BB1A-D69D1280F254}" type="presParOf" srcId="{F26A0A1E-F74E-4F97-B45C-2C04FA12A68F}" destId="{5C835A61-30C1-4BCB-B259-12939A9A1F54}" srcOrd="1" destOrd="0" presId="urn:microsoft.com/office/officeart/2005/8/layout/hierarchy1"/>
    <dgm:cxn modelId="{B231620D-3D07-4D3C-A17F-9A487C29EC18}" type="presParOf" srcId="{CBD2A0CE-20D7-4B2C-8DDF-1675BBA8485C}" destId="{BE0FDA57-E7F7-4B9B-8993-8E735444A1E5}" srcOrd="1" destOrd="0" presId="urn:microsoft.com/office/officeart/2005/8/layout/hierarchy1"/>
    <dgm:cxn modelId="{82EC4D4D-98DC-417B-94DF-63589B14E7BA}" type="presParOf" srcId="{BE0FDA57-E7F7-4B9B-8993-8E735444A1E5}" destId="{29427F3A-66BD-4878-8119-1403137EF23C}" srcOrd="0" destOrd="0" presId="urn:microsoft.com/office/officeart/2005/8/layout/hierarchy1"/>
    <dgm:cxn modelId="{127F583E-D830-4A99-A368-08A35B16E126}" type="presParOf" srcId="{BE0FDA57-E7F7-4B9B-8993-8E735444A1E5}" destId="{ED475BC3-FC74-4D43-8267-3AFD5468CD9E}" srcOrd="1" destOrd="0" presId="urn:microsoft.com/office/officeart/2005/8/layout/hierarchy1"/>
    <dgm:cxn modelId="{A481B2D6-CE07-4037-B726-1535E02E60B6}" type="presParOf" srcId="{ED475BC3-FC74-4D43-8267-3AFD5468CD9E}" destId="{D980EC8A-CBD1-453B-B928-A2731E9CDBD9}" srcOrd="0" destOrd="0" presId="urn:microsoft.com/office/officeart/2005/8/layout/hierarchy1"/>
    <dgm:cxn modelId="{7F1611F0-9710-4DE5-9A3D-91E175020A31}" type="presParOf" srcId="{D980EC8A-CBD1-453B-B928-A2731E9CDBD9}" destId="{FDA6F67C-FA5D-4361-9C3D-0FB6C20E5F96}" srcOrd="0" destOrd="0" presId="urn:microsoft.com/office/officeart/2005/8/layout/hierarchy1"/>
    <dgm:cxn modelId="{C07A508D-1872-4355-838A-FDB3B5121C2A}" type="presParOf" srcId="{D980EC8A-CBD1-453B-B928-A2731E9CDBD9}" destId="{DB88B594-C67E-4903-8B5F-E6B6CDF9DEC1}" srcOrd="1" destOrd="0" presId="urn:microsoft.com/office/officeart/2005/8/layout/hierarchy1"/>
    <dgm:cxn modelId="{FAF9EE98-D645-42B1-A814-D4680340781B}" type="presParOf" srcId="{ED475BC3-FC74-4D43-8267-3AFD5468CD9E}" destId="{E95B4977-EDEF-4C89-B652-7CB74CA648F7}" srcOrd="1" destOrd="0" presId="urn:microsoft.com/office/officeart/2005/8/layout/hierarchy1"/>
    <dgm:cxn modelId="{C6A14B6F-3236-4AEC-8663-B1C9602A5468}" type="presParOf" srcId="{BE0FDA57-E7F7-4B9B-8993-8E735444A1E5}" destId="{E88ECEDF-FF34-427B-AA9E-32113924E141}" srcOrd="2" destOrd="0" presId="urn:microsoft.com/office/officeart/2005/8/layout/hierarchy1"/>
    <dgm:cxn modelId="{A3767287-B511-4168-B42B-C3C8ED63934D}" type="presParOf" srcId="{BE0FDA57-E7F7-4B9B-8993-8E735444A1E5}" destId="{CC5101C5-C358-4DA6-8918-94213CFF5049}" srcOrd="3" destOrd="0" presId="urn:microsoft.com/office/officeart/2005/8/layout/hierarchy1"/>
    <dgm:cxn modelId="{B69C5A53-CB41-4B85-9C77-51490859628A}" type="presParOf" srcId="{CC5101C5-C358-4DA6-8918-94213CFF5049}" destId="{72C966E4-33B4-49A5-80AA-F9CB0F84FB03}" srcOrd="0" destOrd="0" presId="urn:microsoft.com/office/officeart/2005/8/layout/hierarchy1"/>
    <dgm:cxn modelId="{AF9524A1-2B31-4D31-9A65-8A3E55D09AA0}" type="presParOf" srcId="{72C966E4-33B4-49A5-80AA-F9CB0F84FB03}" destId="{267C97AF-399A-4D3A-8ADE-1A938F8E82B7}" srcOrd="0" destOrd="0" presId="urn:microsoft.com/office/officeart/2005/8/layout/hierarchy1"/>
    <dgm:cxn modelId="{1FF6108E-A29C-481C-88FA-0DBF9BDC4A50}" type="presParOf" srcId="{72C966E4-33B4-49A5-80AA-F9CB0F84FB03}" destId="{5D07AA4F-4711-42BE-B633-E540C3185D9D}" srcOrd="1" destOrd="0" presId="urn:microsoft.com/office/officeart/2005/8/layout/hierarchy1"/>
    <dgm:cxn modelId="{509F048D-3F1D-4FA8-971A-35602B7B5667}" type="presParOf" srcId="{CC5101C5-C358-4DA6-8918-94213CFF5049}" destId="{037EE15B-C7B1-46B7-94E7-A37DBD5F5C97}" srcOrd="1" destOrd="0" presId="urn:microsoft.com/office/officeart/2005/8/layout/hierarchy1"/>
    <dgm:cxn modelId="{5537ACAC-03B4-4489-93A9-61E62A3D3160}" type="presParOf" srcId="{BE0FDA57-E7F7-4B9B-8993-8E735444A1E5}" destId="{8A5C7BD4-1E91-4CF0-BAD2-410253084A7B}" srcOrd="4" destOrd="0" presId="urn:microsoft.com/office/officeart/2005/8/layout/hierarchy1"/>
    <dgm:cxn modelId="{EB76AC1A-DE92-4704-87DE-2D3636DFAC36}" type="presParOf" srcId="{BE0FDA57-E7F7-4B9B-8993-8E735444A1E5}" destId="{2082257D-0A01-45D3-AC82-9800ADEB09AA}" srcOrd="5" destOrd="0" presId="urn:microsoft.com/office/officeart/2005/8/layout/hierarchy1"/>
    <dgm:cxn modelId="{611F2981-BDA4-4854-9714-9AB887B973D5}" type="presParOf" srcId="{2082257D-0A01-45D3-AC82-9800ADEB09AA}" destId="{B0793078-5E15-4C7D-B934-76FB9C73A6FC}" srcOrd="0" destOrd="0" presId="urn:microsoft.com/office/officeart/2005/8/layout/hierarchy1"/>
    <dgm:cxn modelId="{32C68A6E-7F1B-4071-91FB-9121BCD92376}" type="presParOf" srcId="{B0793078-5E15-4C7D-B934-76FB9C73A6FC}" destId="{5A457522-9232-4782-AAB6-FFF71D6C9772}" srcOrd="0" destOrd="0" presId="urn:microsoft.com/office/officeart/2005/8/layout/hierarchy1"/>
    <dgm:cxn modelId="{4CE8AD9E-98D4-4B7F-9BD7-22460AEC63EF}" type="presParOf" srcId="{B0793078-5E15-4C7D-B934-76FB9C73A6FC}" destId="{4D0CD664-4A7B-469E-8C74-7C7D94D9E798}" srcOrd="1" destOrd="0" presId="urn:microsoft.com/office/officeart/2005/8/layout/hierarchy1"/>
    <dgm:cxn modelId="{EF2930F5-CDDB-4A6A-BD1F-ADA390505CCC}" type="presParOf" srcId="{2082257D-0A01-45D3-AC82-9800ADEB09AA}" destId="{D91D8B88-4D9F-4C34-93DD-58739EAD1BF0}" srcOrd="1" destOrd="0" presId="urn:microsoft.com/office/officeart/2005/8/layout/hierarchy1"/>
    <dgm:cxn modelId="{B70015B1-6B26-4802-A957-8F090D836CFD}" type="presParOf" srcId="{8B4EA6FD-270C-4C19-BBAB-313E096FF906}" destId="{F3D2679F-8F04-4471-98C7-B9AE86C198F0}" srcOrd="2" destOrd="0" presId="urn:microsoft.com/office/officeart/2005/8/layout/hierarchy1"/>
    <dgm:cxn modelId="{8CA6C46B-E4CA-4B0D-9E3E-A9D6CADAF7F6}" type="presParOf" srcId="{8B4EA6FD-270C-4C19-BBAB-313E096FF906}" destId="{3CE853AA-06D9-4DC3-8F1F-6DD724CDA96E}" srcOrd="3" destOrd="0" presId="urn:microsoft.com/office/officeart/2005/8/layout/hierarchy1"/>
    <dgm:cxn modelId="{5810A780-6E27-49A4-BFE3-C7FB082BF98A}" type="presParOf" srcId="{3CE853AA-06D9-4DC3-8F1F-6DD724CDA96E}" destId="{A2285972-A9B8-4740-88DE-E9A716E214B0}" srcOrd="0" destOrd="0" presId="urn:microsoft.com/office/officeart/2005/8/layout/hierarchy1"/>
    <dgm:cxn modelId="{652DE909-286C-41C9-8B94-1D6CB5FE2014}" type="presParOf" srcId="{A2285972-A9B8-4740-88DE-E9A716E214B0}" destId="{6AE50787-5C60-41E7-AED2-B670D3847B32}" srcOrd="0" destOrd="0" presId="urn:microsoft.com/office/officeart/2005/8/layout/hierarchy1"/>
    <dgm:cxn modelId="{0AADF344-7BD2-4083-9AE2-0535CC96CCF3}" type="presParOf" srcId="{A2285972-A9B8-4740-88DE-E9A716E214B0}" destId="{CF962B25-E188-46D1-BB7B-FD072D5F9FBC}" srcOrd="1" destOrd="0" presId="urn:microsoft.com/office/officeart/2005/8/layout/hierarchy1"/>
    <dgm:cxn modelId="{24FA18FC-DABB-4406-96AD-1E65C25A1B58}" type="presParOf" srcId="{3CE853AA-06D9-4DC3-8F1F-6DD724CDA96E}" destId="{FB561109-7D4C-4356-B1D8-287BBC2D0AFC}" srcOrd="1" destOrd="0" presId="urn:microsoft.com/office/officeart/2005/8/layout/hierarchy1"/>
    <dgm:cxn modelId="{F0BB8042-ABDE-4350-B17E-70CD41963AD5}" type="presParOf" srcId="{FB561109-7D4C-4356-B1D8-287BBC2D0AFC}" destId="{79BBB88D-F79E-420E-B4CD-6FCAB712436A}" srcOrd="0" destOrd="0" presId="urn:microsoft.com/office/officeart/2005/8/layout/hierarchy1"/>
    <dgm:cxn modelId="{7A9F3D77-E65D-4551-B91A-59889CACD52A}" type="presParOf" srcId="{FB561109-7D4C-4356-B1D8-287BBC2D0AFC}" destId="{490E9C5A-6B16-4B06-BA2D-69D4EB1B83FB}" srcOrd="1" destOrd="0" presId="urn:microsoft.com/office/officeart/2005/8/layout/hierarchy1"/>
    <dgm:cxn modelId="{63351C06-1A7A-4C09-8211-8B81E7A29A94}" type="presParOf" srcId="{490E9C5A-6B16-4B06-BA2D-69D4EB1B83FB}" destId="{C0125446-AAD6-4A79-A410-04B2F4043DDC}" srcOrd="0" destOrd="0" presId="urn:microsoft.com/office/officeart/2005/8/layout/hierarchy1"/>
    <dgm:cxn modelId="{C261D9EA-B2FC-44E3-B5A5-DE33463EB513}" type="presParOf" srcId="{C0125446-AAD6-4A79-A410-04B2F4043DDC}" destId="{6EEA81FD-9F30-4AE5-A0CA-5EB509F57571}" srcOrd="0" destOrd="0" presId="urn:microsoft.com/office/officeart/2005/8/layout/hierarchy1"/>
    <dgm:cxn modelId="{2EADB9A1-0684-4BF3-97E1-616DE5A93177}" type="presParOf" srcId="{C0125446-AAD6-4A79-A410-04B2F4043DDC}" destId="{3AC88097-B731-4CCE-9B3A-7D691B83B662}" srcOrd="1" destOrd="0" presId="urn:microsoft.com/office/officeart/2005/8/layout/hierarchy1"/>
    <dgm:cxn modelId="{6A201F7E-A6CC-43DE-A996-5DDB4D7F4D06}" type="presParOf" srcId="{490E9C5A-6B16-4B06-BA2D-69D4EB1B83FB}" destId="{41A5B31A-5736-400C-B20C-49A611486498}" srcOrd="1" destOrd="0" presId="urn:microsoft.com/office/officeart/2005/8/layout/hierarchy1"/>
    <dgm:cxn modelId="{4B47A59E-45DC-49E2-B3F7-3E61B3305442}" type="presParOf" srcId="{41A5B31A-5736-400C-B20C-49A611486498}" destId="{E4F879E2-C0BC-4074-BD00-D156D694C295}" srcOrd="0" destOrd="0" presId="urn:microsoft.com/office/officeart/2005/8/layout/hierarchy1"/>
    <dgm:cxn modelId="{478F2CFB-68B3-4FC4-B66A-AB9FE1E4A280}" type="presParOf" srcId="{41A5B31A-5736-400C-B20C-49A611486498}" destId="{CE0A67D3-A0A3-454E-9AEA-4CD1CA78862A}" srcOrd="1" destOrd="0" presId="urn:microsoft.com/office/officeart/2005/8/layout/hierarchy1"/>
    <dgm:cxn modelId="{818C13BE-E95C-41D6-B471-AE4E14DA10A1}" type="presParOf" srcId="{CE0A67D3-A0A3-454E-9AEA-4CD1CA78862A}" destId="{29E49720-B7FC-4D0F-91B4-9ED7DD407B40}" srcOrd="0" destOrd="0" presId="urn:microsoft.com/office/officeart/2005/8/layout/hierarchy1"/>
    <dgm:cxn modelId="{233DDC60-64FD-42F1-9219-1B96E97D4E7B}" type="presParOf" srcId="{29E49720-B7FC-4D0F-91B4-9ED7DD407B40}" destId="{49A4CA4B-0BF5-4354-8ADD-ABF94A4600A9}" srcOrd="0" destOrd="0" presId="urn:microsoft.com/office/officeart/2005/8/layout/hierarchy1"/>
    <dgm:cxn modelId="{7AED216B-823D-4E6E-B3B0-52692C44FEC7}" type="presParOf" srcId="{29E49720-B7FC-4D0F-91B4-9ED7DD407B40}" destId="{6D170C7B-1775-4B33-8F54-A1DC3299428C}" srcOrd="1" destOrd="0" presId="urn:microsoft.com/office/officeart/2005/8/layout/hierarchy1"/>
    <dgm:cxn modelId="{A44EBCF5-83DE-42EE-B81B-C936211CE47A}" type="presParOf" srcId="{CE0A67D3-A0A3-454E-9AEA-4CD1CA78862A}" destId="{3EAC586E-B3FC-4F7E-A1F5-9C9F3EDFB0E9}" srcOrd="1" destOrd="0" presId="urn:microsoft.com/office/officeart/2005/8/layout/hierarchy1"/>
    <dgm:cxn modelId="{C88F2FAA-93A3-4BF5-A063-26084E5DFDF6}" type="presParOf" srcId="{41A5B31A-5736-400C-B20C-49A611486498}" destId="{0D1DB52B-A3F5-46F5-BD11-E41D07B07D09}" srcOrd="2" destOrd="0" presId="urn:microsoft.com/office/officeart/2005/8/layout/hierarchy1"/>
    <dgm:cxn modelId="{62180A6F-FB88-4E65-AA8C-A63B83DBD909}" type="presParOf" srcId="{41A5B31A-5736-400C-B20C-49A611486498}" destId="{E5AB1E97-88E2-42AB-A81B-69F158D09A46}" srcOrd="3" destOrd="0" presId="urn:microsoft.com/office/officeart/2005/8/layout/hierarchy1"/>
    <dgm:cxn modelId="{7E67692F-BFEA-44A3-8273-253F2E146B0A}" type="presParOf" srcId="{E5AB1E97-88E2-42AB-A81B-69F158D09A46}" destId="{F0BE4ACF-4B9E-465A-8A9D-E8BBF624A081}" srcOrd="0" destOrd="0" presId="urn:microsoft.com/office/officeart/2005/8/layout/hierarchy1"/>
    <dgm:cxn modelId="{0A7B676C-F0EB-43D2-B928-FF90C45E30FC}" type="presParOf" srcId="{F0BE4ACF-4B9E-465A-8A9D-E8BBF624A081}" destId="{C7EDBDF6-C93B-4F1F-A226-2FB4F2224798}" srcOrd="0" destOrd="0" presId="urn:microsoft.com/office/officeart/2005/8/layout/hierarchy1"/>
    <dgm:cxn modelId="{08364E51-07FB-422F-AE18-C1F33EC65AFF}" type="presParOf" srcId="{F0BE4ACF-4B9E-465A-8A9D-E8BBF624A081}" destId="{496A7C0A-CD79-49B2-8CDC-44687ECF29A4}" srcOrd="1" destOrd="0" presId="urn:microsoft.com/office/officeart/2005/8/layout/hierarchy1"/>
    <dgm:cxn modelId="{23652271-8B56-4020-8B01-1F3B50CAF593}" type="presParOf" srcId="{E5AB1E97-88E2-42AB-A81B-69F158D09A46}" destId="{8F9354D5-6D81-4570-B9B7-9CF69AAF06DC}" srcOrd="1" destOrd="0" presId="urn:microsoft.com/office/officeart/2005/8/layout/hierarchy1"/>
    <dgm:cxn modelId="{74BABEB3-D842-463F-837E-2BE6E029A455}" type="presParOf" srcId="{41A5B31A-5736-400C-B20C-49A611486498}" destId="{5FC1BA09-0F58-4B74-A10C-C9910ADFF4E3}" srcOrd="4" destOrd="0" presId="urn:microsoft.com/office/officeart/2005/8/layout/hierarchy1"/>
    <dgm:cxn modelId="{19DE7CF3-2294-4EAC-901E-11E997211A4B}" type="presParOf" srcId="{41A5B31A-5736-400C-B20C-49A611486498}" destId="{0677ABD6-86E8-4479-B498-468CEAE3D33F}" srcOrd="5" destOrd="0" presId="urn:microsoft.com/office/officeart/2005/8/layout/hierarchy1"/>
    <dgm:cxn modelId="{E5C06C77-DACC-42BC-8094-02C2A02C35BD}" type="presParOf" srcId="{0677ABD6-86E8-4479-B498-468CEAE3D33F}" destId="{A092952E-E25D-4E79-8523-F1E6700F70A9}" srcOrd="0" destOrd="0" presId="urn:microsoft.com/office/officeart/2005/8/layout/hierarchy1"/>
    <dgm:cxn modelId="{E5F98EDB-35B3-4037-BE62-C1F4D31BFF90}" type="presParOf" srcId="{A092952E-E25D-4E79-8523-F1E6700F70A9}" destId="{306C1202-F573-454C-A119-2C2657D3898D}" srcOrd="0" destOrd="0" presId="urn:microsoft.com/office/officeart/2005/8/layout/hierarchy1"/>
    <dgm:cxn modelId="{C9B7C7D6-02C4-4AA7-A42D-1B08C2E2AC89}" type="presParOf" srcId="{A092952E-E25D-4E79-8523-F1E6700F70A9}" destId="{10596382-371C-41CD-966D-BB2AE8E56D71}" srcOrd="1" destOrd="0" presId="urn:microsoft.com/office/officeart/2005/8/layout/hierarchy1"/>
    <dgm:cxn modelId="{B0E6985F-1249-4340-BABD-BCF761F6C7B3}" type="presParOf" srcId="{0677ABD6-86E8-4479-B498-468CEAE3D33F}" destId="{229433E7-1636-4A0C-AFA6-29A8A121071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C1BA09-0F58-4B74-A10C-C9910ADFF4E3}">
      <dsp:nvSpPr>
        <dsp:cNvPr id="0" name=""/>
        <dsp:cNvSpPr/>
      </dsp:nvSpPr>
      <dsp:spPr>
        <a:xfrm>
          <a:off x="6943937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936599" y="151878"/>
              </a:lnTo>
              <a:lnTo>
                <a:pt x="936599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1DB52B-A3F5-46F5-BD11-E41D07B07D09}">
      <dsp:nvSpPr>
        <dsp:cNvPr id="0" name=""/>
        <dsp:cNvSpPr/>
      </dsp:nvSpPr>
      <dsp:spPr>
        <a:xfrm>
          <a:off x="6898217" y="2087151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F879E2-C0BC-4074-BD00-D156D694C295}">
      <dsp:nvSpPr>
        <dsp:cNvPr id="0" name=""/>
        <dsp:cNvSpPr/>
      </dsp:nvSpPr>
      <dsp:spPr>
        <a:xfrm>
          <a:off x="6007338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936599" y="0"/>
              </a:moveTo>
              <a:lnTo>
                <a:pt x="936599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BBB88D-F79E-420E-B4CD-6FCAB712436A}">
      <dsp:nvSpPr>
        <dsp:cNvPr id="0" name=""/>
        <dsp:cNvSpPr/>
      </dsp:nvSpPr>
      <dsp:spPr>
        <a:xfrm>
          <a:off x="6898217" y="1377677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D2679F-8F04-4471-98C7-B9AE86C198F0}">
      <dsp:nvSpPr>
        <dsp:cNvPr id="0" name=""/>
        <dsp:cNvSpPr/>
      </dsp:nvSpPr>
      <dsp:spPr>
        <a:xfrm>
          <a:off x="4836589" y="668204"/>
          <a:ext cx="2107348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2107348" y="151878"/>
              </a:lnTo>
              <a:lnTo>
                <a:pt x="2107348" y="22286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5C7BD4-1E91-4CF0-BAD2-410253084A7B}">
      <dsp:nvSpPr>
        <dsp:cNvPr id="0" name=""/>
        <dsp:cNvSpPr/>
      </dsp:nvSpPr>
      <dsp:spPr>
        <a:xfrm>
          <a:off x="4134139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936599" y="151878"/>
              </a:lnTo>
              <a:lnTo>
                <a:pt x="936599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8ECEDF-FF34-427B-AA9E-32113924E141}">
      <dsp:nvSpPr>
        <dsp:cNvPr id="0" name=""/>
        <dsp:cNvSpPr/>
      </dsp:nvSpPr>
      <dsp:spPr>
        <a:xfrm>
          <a:off x="4088419" y="2087151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427F3A-66BD-4878-8119-1403137EF23C}">
      <dsp:nvSpPr>
        <dsp:cNvPr id="0" name=""/>
        <dsp:cNvSpPr/>
      </dsp:nvSpPr>
      <dsp:spPr>
        <a:xfrm>
          <a:off x="3197540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936599" y="0"/>
              </a:moveTo>
              <a:lnTo>
                <a:pt x="936599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FF1C42-7FA4-4A6B-B453-6014BCD7A223}">
      <dsp:nvSpPr>
        <dsp:cNvPr id="0" name=""/>
        <dsp:cNvSpPr/>
      </dsp:nvSpPr>
      <dsp:spPr>
        <a:xfrm>
          <a:off x="2729240" y="1377677"/>
          <a:ext cx="1404898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1404898" y="151878"/>
              </a:lnTo>
              <a:lnTo>
                <a:pt x="1404898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1F2B3E-5801-4B11-A005-10BAE2AD015F}">
      <dsp:nvSpPr>
        <dsp:cNvPr id="0" name=""/>
        <dsp:cNvSpPr/>
      </dsp:nvSpPr>
      <dsp:spPr>
        <a:xfrm>
          <a:off x="1324342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878"/>
              </a:lnTo>
              <a:lnTo>
                <a:pt x="936599" y="151878"/>
              </a:lnTo>
              <a:lnTo>
                <a:pt x="936599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993E0-2873-4F2F-A719-7111BAA57038}">
      <dsp:nvSpPr>
        <dsp:cNvPr id="0" name=""/>
        <dsp:cNvSpPr/>
      </dsp:nvSpPr>
      <dsp:spPr>
        <a:xfrm>
          <a:off x="1278622" y="2087151"/>
          <a:ext cx="91440" cy="2228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EEFCF0-28D8-4D2D-BCD7-33E7FBEC42CF}">
      <dsp:nvSpPr>
        <dsp:cNvPr id="0" name=""/>
        <dsp:cNvSpPr/>
      </dsp:nvSpPr>
      <dsp:spPr>
        <a:xfrm>
          <a:off x="387742" y="2087151"/>
          <a:ext cx="936599" cy="222868"/>
        </a:xfrm>
        <a:custGeom>
          <a:avLst/>
          <a:gdLst/>
          <a:ahLst/>
          <a:cxnLst/>
          <a:rect l="0" t="0" r="0" b="0"/>
          <a:pathLst>
            <a:path>
              <a:moveTo>
                <a:pt x="936599" y="0"/>
              </a:moveTo>
              <a:lnTo>
                <a:pt x="936599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A17DB7-FE71-465C-9E61-C4FA0F117408}">
      <dsp:nvSpPr>
        <dsp:cNvPr id="0" name=""/>
        <dsp:cNvSpPr/>
      </dsp:nvSpPr>
      <dsp:spPr>
        <a:xfrm>
          <a:off x="1324342" y="1377677"/>
          <a:ext cx="1404898" cy="222868"/>
        </a:xfrm>
        <a:custGeom>
          <a:avLst/>
          <a:gdLst/>
          <a:ahLst/>
          <a:cxnLst/>
          <a:rect l="0" t="0" r="0" b="0"/>
          <a:pathLst>
            <a:path>
              <a:moveTo>
                <a:pt x="1404898" y="0"/>
              </a:moveTo>
              <a:lnTo>
                <a:pt x="1404898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6D3B87-BE80-447B-AC9A-4B74A17A5D0A}">
      <dsp:nvSpPr>
        <dsp:cNvPr id="0" name=""/>
        <dsp:cNvSpPr/>
      </dsp:nvSpPr>
      <dsp:spPr>
        <a:xfrm>
          <a:off x="2729240" y="668204"/>
          <a:ext cx="2107348" cy="222868"/>
        </a:xfrm>
        <a:custGeom>
          <a:avLst/>
          <a:gdLst/>
          <a:ahLst/>
          <a:cxnLst/>
          <a:rect l="0" t="0" r="0" b="0"/>
          <a:pathLst>
            <a:path>
              <a:moveTo>
                <a:pt x="2107348" y="0"/>
              </a:moveTo>
              <a:lnTo>
                <a:pt x="2107348" y="151878"/>
              </a:lnTo>
              <a:lnTo>
                <a:pt x="0" y="151878"/>
              </a:lnTo>
              <a:lnTo>
                <a:pt x="0" y="22286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48E00D-5A75-4C19-BE65-D30074CB9AAF}">
      <dsp:nvSpPr>
        <dsp:cNvPr id="0" name=""/>
        <dsp:cNvSpPr/>
      </dsp:nvSpPr>
      <dsp:spPr>
        <a:xfrm>
          <a:off x="4453434" y="181598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601E7-2250-4BFF-9557-C27D06259E4B}">
      <dsp:nvSpPr>
        <dsp:cNvPr id="0" name=""/>
        <dsp:cNvSpPr/>
      </dsp:nvSpPr>
      <dsp:spPr>
        <a:xfrm>
          <a:off x="4538580" y="262486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Pattern Recognition</a:t>
          </a:r>
        </a:p>
      </dsp:txBody>
      <dsp:txXfrm>
        <a:off x="4552832" y="276738"/>
        <a:ext cx="737804" cy="458101"/>
      </dsp:txXfrm>
    </dsp:sp>
    <dsp:sp modelId="{71072238-5115-44C6-B263-21D794DC9DB3}">
      <dsp:nvSpPr>
        <dsp:cNvPr id="0" name=""/>
        <dsp:cNvSpPr/>
      </dsp:nvSpPr>
      <dsp:spPr>
        <a:xfrm>
          <a:off x="2346086" y="891072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B8646C-925D-47B0-BBC7-005B54AE717C}">
      <dsp:nvSpPr>
        <dsp:cNvPr id="0" name=""/>
        <dsp:cNvSpPr/>
      </dsp:nvSpPr>
      <dsp:spPr>
        <a:xfrm>
          <a:off x="2431232" y="971960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Supervised methods</a:t>
          </a:r>
        </a:p>
      </dsp:txBody>
      <dsp:txXfrm>
        <a:off x="2445484" y="986212"/>
        <a:ext cx="737804" cy="458101"/>
      </dsp:txXfrm>
    </dsp:sp>
    <dsp:sp modelId="{8F30E7E9-A2AA-4CB3-B42B-36C0F8E10597}">
      <dsp:nvSpPr>
        <dsp:cNvPr id="0" name=""/>
        <dsp:cNvSpPr/>
      </dsp:nvSpPr>
      <dsp:spPr>
        <a:xfrm>
          <a:off x="941187" y="1600545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476A9F-1A33-44CF-9BAC-019A0A457FAF}">
      <dsp:nvSpPr>
        <dsp:cNvPr id="0" name=""/>
        <dsp:cNvSpPr/>
      </dsp:nvSpPr>
      <dsp:spPr>
        <a:xfrm>
          <a:off x="1026333" y="1681434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lassification</a:t>
          </a:r>
        </a:p>
      </dsp:txBody>
      <dsp:txXfrm>
        <a:off x="1040585" y="1695686"/>
        <a:ext cx="737804" cy="458101"/>
      </dsp:txXfrm>
    </dsp:sp>
    <dsp:sp modelId="{7591DADB-D829-4387-9212-31D41578E964}">
      <dsp:nvSpPr>
        <dsp:cNvPr id="0" name=""/>
        <dsp:cNvSpPr/>
      </dsp:nvSpPr>
      <dsp:spPr>
        <a:xfrm>
          <a:off x="4588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B28AB6-4A59-42BF-AA3D-564284C506A8}">
      <dsp:nvSpPr>
        <dsp:cNvPr id="0" name=""/>
        <dsp:cNvSpPr/>
      </dsp:nvSpPr>
      <dsp:spPr>
        <a:xfrm>
          <a:off x="89734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Decision Tree</a:t>
          </a:r>
        </a:p>
      </dsp:txBody>
      <dsp:txXfrm>
        <a:off x="103986" y="2405159"/>
        <a:ext cx="737804" cy="458101"/>
      </dsp:txXfrm>
    </dsp:sp>
    <dsp:sp modelId="{F549ED74-D234-4022-86FB-257C1D293D82}">
      <dsp:nvSpPr>
        <dsp:cNvPr id="0" name=""/>
        <dsp:cNvSpPr/>
      </dsp:nvSpPr>
      <dsp:spPr>
        <a:xfrm>
          <a:off x="941187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CC260F-1D85-42E6-8400-2798A95B8BFD}">
      <dsp:nvSpPr>
        <dsp:cNvPr id="0" name=""/>
        <dsp:cNvSpPr/>
      </dsp:nvSpPr>
      <dsp:spPr>
        <a:xfrm>
          <a:off x="1026333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Rule-based</a:t>
          </a:r>
        </a:p>
      </dsp:txBody>
      <dsp:txXfrm>
        <a:off x="1040585" y="2405159"/>
        <a:ext cx="737804" cy="458101"/>
      </dsp:txXfrm>
    </dsp:sp>
    <dsp:sp modelId="{1E2B801F-8E8F-4E69-9E96-FD6F06E58C67}">
      <dsp:nvSpPr>
        <dsp:cNvPr id="0" name=""/>
        <dsp:cNvSpPr/>
      </dsp:nvSpPr>
      <dsp:spPr>
        <a:xfrm>
          <a:off x="1877787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949079-0EC9-462B-8016-D578773ABF1F}">
      <dsp:nvSpPr>
        <dsp:cNvPr id="0" name=""/>
        <dsp:cNvSpPr/>
      </dsp:nvSpPr>
      <dsp:spPr>
        <a:xfrm>
          <a:off x="1962932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…</a:t>
          </a:r>
        </a:p>
      </dsp:txBody>
      <dsp:txXfrm>
        <a:off x="1977184" y="2405159"/>
        <a:ext cx="737804" cy="458101"/>
      </dsp:txXfrm>
    </dsp:sp>
    <dsp:sp modelId="{84EB2C9B-482A-44E9-845C-5B946705931B}">
      <dsp:nvSpPr>
        <dsp:cNvPr id="0" name=""/>
        <dsp:cNvSpPr/>
      </dsp:nvSpPr>
      <dsp:spPr>
        <a:xfrm>
          <a:off x="3750985" y="1600545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835A61-30C1-4BCB-B259-12939A9A1F54}">
      <dsp:nvSpPr>
        <dsp:cNvPr id="0" name=""/>
        <dsp:cNvSpPr/>
      </dsp:nvSpPr>
      <dsp:spPr>
        <a:xfrm>
          <a:off x="3836130" y="1681434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Regression</a:t>
          </a:r>
        </a:p>
      </dsp:txBody>
      <dsp:txXfrm>
        <a:off x="3850382" y="1695686"/>
        <a:ext cx="737804" cy="458101"/>
      </dsp:txXfrm>
    </dsp:sp>
    <dsp:sp modelId="{FDA6F67C-FA5D-4361-9C3D-0FB6C20E5F96}">
      <dsp:nvSpPr>
        <dsp:cNvPr id="0" name=""/>
        <dsp:cNvSpPr/>
      </dsp:nvSpPr>
      <dsp:spPr>
        <a:xfrm>
          <a:off x="2814386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88B594-C67E-4903-8B5F-E6B6CDF9DEC1}">
      <dsp:nvSpPr>
        <dsp:cNvPr id="0" name=""/>
        <dsp:cNvSpPr/>
      </dsp:nvSpPr>
      <dsp:spPr>
        <a:xfrm>
          <a:off x="2899531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Linear Regression</a:t>
          </a:r>
        </a:p>
      </dsp:txBody>
      <dsp:txXfrm>
        <a:off x="2913783" y="2405159"/>
        <a:ext cx="737804" cy="458101"/>
      </dsp:txXfrm>
    </dsp:sp>
    <dsp:sp modelId="{267C97AF-399A-4D3A-8ADE-1A938F8E82B7}">
      <dsp:nvSpPr>
        <dsp:cNvPr id="0" name=""/>
        <dsp:cNvSpPr/>
      </dsp:nvSpPr>
      <dsp:spPr>
        <a:xfrm>
          <a:off x="3750985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07AA4F-4711-42BE-B633-E540C3185D9D}">
      <dsp:nvSpPr>
        <dsp:cNvPr id="0" name=""/>
        <dsp:cNvSpPr/>
      </dsp:nvSpPr>
      <dsp:spPr>
        <a:xfrm>
          <a:off x="3836130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General linear model</a:t>
          </a:r>
        </a:p>
      </dsp:txBody>
      <dsp:txXfrm>
        <a:off x="3850382" y="2405159"/>
        <a:ext cx="737804" cy="458101"/>
      </dsp:txXfrm>
    </dsp:sp>
    <dsp:sp modelId="{5A457522-9232-4782-AAB6-FFF71D6C9772}">
      <dsp:nvSpPr>
        <dsp:cNvPr id="0" name=""/>
        <dsp:cNvSpPr/>
      </dsp:nvSpPr>
      <dsp:spPr>
        <a:xfrm>
          <a:off x="4687584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0CD664-4A7B-469E-8C74-7C7D94D9E798}">
      <dsp:nvSpPr>
        <dsp:cNvPr id="0" name=""/>
        <dsp:cNvSpPr/>
      </dsp:nvSpPr>
      <dsp:spPr>
        <a:xfrm>
          <a:off x="4772730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…</a:t>
          </a:r>
        </a:p>
      </dsp:txBody>
      <dsp:txXfrm>
        <a:off x="4786982" y="2405159"/>
        <a:ext cx="737804" cy="458101"/>
      </dsp:txXfrm>
    </dsp:sp>
    <dsp:sp modelId="{6AE50787-5C60-41E7-AED2-B670D3847B32}">
      <dsp:nvSpPr>
        <dsp:cNvPr id="0" name=""/>
        <dsp:cNvSpPr/>
      </dsp:nvSpPr>
      <dsp:spPr>
        <a:xfrm>
          <a:off x="6560783" y="891072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962B25-E188-46D1-BB7B-FD072D5F9FBC}">
      <dsp:nvSpPr>
        <dsp:cNvPr id="0" name=""/>
        <dsp:cNvSpPr/>
      </dsp:nvSpPr>
      <dsp:spPr>
        <a:xfrm>
          <a:off x="6645928" y="971960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Unsupervised methods</a:t>
          </a:r>
        </a:p>
      </dsp:txBody>
      <dsp:txXfrm>
        <a:off x="6660180" y="986212"/>
        <a:ext cx="737804" cy="458101"/>
      </dsp:txXfrm>
    </dsp:sp>
    <dsp:sp modelId="{6EEA81FD-9F30-4AE5-A0CA-5EB509F57571}">
      <dsp:nvSpPr>
        <dsp:cNvPr id="0" name=""/>
        <dsp:cNvSpPr/>
      </dsp:nvSpPr>
      <dsp:spPr>
        <a:xfrm>
          <a:off x="6560783" y="1600545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C88097-B731-4CCE-9B3A-7D691B83B662}">
      <dsp:nvSpPr>
        <dsp:cNvPr id="0" name=""/>
        <dsp:cNvSpPr/>
      </dsp:nvSpPr>
      <dsp:spPr>
        <a:xfrm>
          <a:off x="6645928" y="1681434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lustering</a:t>
          </a:r>
        </a:p>
      </dsp:txBody>
      <dsp:txXfrm>
        <a:off x="6660180" y="1695686"/>
        <a:ext cx="737804" cy="458101"/>
      </dsp:txXfrm>
    </dsp:sp>
    <dsp:sp modelId="{49A4CA4B-0BF5-4354-8ADD-ABF94A4600A9}">
      <dsp:nvSpPr>
        <dsp:cNvPr id="0" name=""/>
        <dsp:cNvSpPr/>
      </dsp:nvSpPr>
      <dsp:spPr>
        <a:xfrm>
          <a:off x="5624184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170C7B-1775-4B33-8F54-A1DC3299428C}">
      <dsp:nvSpPr>
        <dsp:cNvPr id="0" name=""/>
        <dsp:cNvSpPr/>
      </dsp:nvSpPr>
      <dsp:spPr>
        <a:xfrm>
          <a:off x="5709329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i="0" kern="1200"/>
            <a:t>Hierarchical clustering</a:t>
          </a:r>
        </a:p>
      </dsp:txBody>
      <dsp:txXfrm>
        <a:off x="5723581" y="2405159"/>
        <a:ext cx="737804" cy="458101"/>
      </dsp:txXfrm>
    </dsp:sp>
    <dsp:sp modelId="{C7EDBDF6-C93B-4F1F-A226-2FB4F2224798}">
      <dsp:nvSpPr>
        <dsp:cNvPr id="0" name=""/>
        <dsp:cNvSpPr/>
      </dsp:nvSpPr>
      <dsp:spPr>
        <a:xfrm>
          <a:off x="6560783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6A7C0A-CD79-49B2-8CDC-44687ECF29A4}">
      <dsp:nvSpPr>
        <dsp:cNvPr id="0" name=""/>
        <dsp:cNvSpPr/>
      </dsp:nvSpPr>
      <dsp:spPr>
        <a:xfrm>
          <a:off x="6645928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K-means clustering</a:t>
          </a:r>
        </a:p>
      </dsp:txBody>
      <dsp:txXfrm>
        <a:off x="6660180" y="2405159"/>
        <a:ext cx="737804" cy="458101"/>
      </dsp:txXfrm>
    </dsp:sp>
    <dsp:sp modelId="{306C1202-F573-454C-A119-2C2657D3898D}">
      <dsp:nvSpPr>
        <dsp:cNvPr id="0" name=""/>
        <dsp:cNvSpPr/>
      </dsp:nvSpPr>
      <dsp:spPr>
        <a:xfrm>
          <a:off x="7497382" y="2310019"/>
          <a:ext cx="766308" cy="4866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596382-371C-41CD-966D-BB2AE8E56D71}">
      <dsp:nvSpPr>
        <dsp:cNvPr id="0" name=""/>
        <dsp:cNvSpPr/>
      </dsp:nvSpPr>
      <dsp:spPr>
        <a:xfrm>
          <a:off x="7582527" y="2390907"/>
          <a:ext cx="766308" cy="48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…</a:t>
          </a:r>
        </a:p>
      </dsp:txBody>
      <dsp:txXfrm>
        <a:off x="7596779" y="2405159"/>
        <a:ext cx="737804" cy="4581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15.11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11/15/2018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39" y="195264"/>
            <a:ext cx="8783520" cy="27368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1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7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3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5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5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16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91" y="195263"/>
            <a:ext cx="8780816" cy="47529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113760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3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2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3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assification Challenge</a:t>
            </a:r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03239" y="4443958"/>
            <a:ext cx="5075797" cy="368813"/>
          </a:xfrm>
        </p:spPr>
        <p:txBody>
          <a:bodyPr>
            <a:normAutofit/>
          </a:bodyPr>
          <a:lstStyle/>
          <a:p>
            <a:pPr algn="l"/>
            <a:r>
              <a:rPr lang="en-US" sz="800" noProof="0" dirty="0"/>
              <a:t>Chassis &amp; Safety | Passive Safety &amp; Sensorics</a:t>
            </a:r>
          </a:p>
        </p:txBody>
      </p:sp>
      <p:pic>
        <p:nvPicPr>
          <p:cNvPr id="12" name="Picture 11" descr="SensePlanAc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5390" y="4595206"/>
            <a:ext cx="1189181" cy="280800"/>
          </a:xfrm>
          <a:prstGeom prst="rect">
            <a:avLst/>
          </a:prstGeom>
        </p:spPr>
      </p:pic>
      <p:pic>
        <p:nvPicPr>
          <p:cNvPr id="13" name="Picture 6" descr="conti_senseplanact_Poster_xs_v25.png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3704" y="4179725"/>
            <a:ext cx="8748000" cy="567368"/>
          </a:xfrm>
          <a:prstGeom prst="rect">
            <a:avLst/>
          </a:prstGeom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9D7E7964-F9D4-42F1-817A-9B734545BF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Set</a:t>
            </a:r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ontent Placeholder 1">
            <a:extLst>
              <a:ext uri="{FF2B5EF4-FFF2-40B4-BE49-F238E27FC236}">
                <a16:creationId xmlns:a16="http://schemas.microsoft.com/office/drawing/2014/main" id="{27A0B5BD-A4D2-4569-8ED6-2B68A1D90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pt-BR" dirty="0"/>
              <a:t>X, Y Tunnel data</a:t>
            </a:r>
          </a:p>
          <a:p>
            <a:r>
              <a:rPr lang="pt-BR" dirty="0"/>
              <a:t>UFL, UFR Front data</a:t>
            </a:r>
          </a:p>
          <a:p>
            <a:r>
              <a:rPr lang="pt-BR" dirty="0"/>
              <a:t>R1L, R1R Side First Row data</a:t>
            </a:r>
          </a:p>
          <a:p>
            <a:r>
              <a:rPr lang="pt-BR" dirty="0"/>
              <a:t>R2L, R2R Side Second Row data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8D4EA3-7FAA-4ACA-B226-E1B11788C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variate Time Series Data</a:t>
            </a:r>
            <a:br>
              <a:rPr lang="en-US" dirty="0"/>
            </a:br>
            <a:r>
              <a:rPr lang="en-US" dirty="0"/>
              <a:t>Sensor Posi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0D7656-87A3-4FC6-AF73-BF79CED86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5F1A8D-32AB-46F6-99D4-33EA3A1727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1D9028-28B0-4B2A-95C1-FA62D16EB1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A218BDB-3BD3-4D75-B4F0-39C152204E2E}"/>
              </a:ext>
            </a:extLst>
          </p:cNvPr>
          <p:cNvGrpSpPr/>
          <p:nvPr/>
        </p:nvGrpSpPr>
        <p:grpSpPr>
          <a:xfrm rot="5400000">
            <a:off x="6153982" y="898708"/>
            <a:ext cx="1693291" cy="3340123"/>
            <a:chOff x="2717800" y="1700213"/>
            <a:chExt cx="1836738" cy="4316412"/>
          </a:xfrm>
        </p:grpSpPr>
        <p:grpSp>
          <p:nvGrpSpPr>
            <p:cNvPr id="7" name="Group 2">
              <a:extLst>
                <a:ext uri="{FF2B5EF4-FFF2-40B4-BE49-F238E27FC236}">
                  <a16:creationId xmlns:a16="http://schemas.microsoft.com/office/drawing/2014/main" id="{33E5E9D5-4971-4C5D-BFB0-ADDF7256D1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1477963" y="2940050"/>
              <a:ext cx="4316412" cy="1836738"/>
              <a:chOff x="1884" y="1152"/>
              <a:chExt cx="964" cy="480"/>
            </a:xfrm>
          </p:grpSpPr>
          <p:sp>
            <p:nvSpPr>
              <p:cNvPr id="8" name="Freeform 3">
                <a:extLst>
                  <a:ext uri="{FF2B5EF4-FFF2-40B4-BE49-F238E27FC236}">
                    <a16:creationId xmlns:a16="http://schemas.microsoft.com/office/drawing/2014/main" id="{00ABED59-D428-4094-BBB8-9B55383F731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200"/>
                <a:ext cx="964" cy="188"/>
              </a:xfrm>
              <a:custGeom>
                <a:avLst/>
                <a:gdLst>
                  <a:gd name="T0" fmla="*/ 0 w 964"/>
                  <a:gd name="T1" fmla="*/ 188 h 188"/>
                  <a:gd name="T2" fmla="*/ 0 w 964"/>
                  <a:gd name="T3" fmla="*/ 144 h 188"/>
                  <a:gd name="T4" fmla="*/ 0 w 964"/>
                  <a:gd name="T5" fmla="*/ 118 h 188"/>
                  <a:gd name="T6" fmla="*/ 9 w 964"/>
                  <a:gd name="T7" fmla="*/ 87 h 188"/>
                  <a:gd name="T8" fmla="*/ 24 w 964"/>
                  <a:gd name="T9" fmla="*/ 57 h 188"/>
                  <a:gd name="T10" fmla="*/ 47 w 964"/>
                  <a:gd name="T11" fmla="*/ 39 h 188"/>
                  <a:gd name="T12" fmla="*/ 66 w 964"/>
                  <a:gd name="T13" fmla="*/ 26 h 188"/>
                  <a:gd name="T14" fmla="*/ 108 w 964"/>
                  <a:gd name="T15" fmla="*/ 13 h 188"/>
                  <a:gd name="T16" fmla="*/ 198 w 964"/>
                  <a:gd name="T17" fmla="*/ 0 h 188"/>
                  <a:gd name="T18" fmla="*/ 691 w 964"/>
                  <a:gd name="T19" fmla="*/ 0 h 188"/>
                  <a:gd name="T20" fmla="*/ 743 w 964"/>
                  <a:gd name="T21" fmla="*/ 0 h 188"/>
                  <a:gd name="T22" fmla="*/ 823 w 964"/>
                  <a:gd name="T23" fmla="*/ 4 h 188"/>
                  <a:gd name="T24" fmla="*/ 903 w 964"/>
                  <a:gd name="T25" fmla="*/ 13 h 188"/>
                  <a:gd name="T26" fmla="*/ 945 w 964"/>
                  <a:gd name="T27" fmla="*/ 31 h 188"/>
                  <a:gd name="T28" fmla="*/ 955 w 964"/>
                  <a:gd name="T29" fmla="*/ 48 h 188"/>
                  <a:gd name="T30" fmla="*/ 964 w 964"/>
                  <a:gd name="T31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188"/>
                    </a:moveTo>
                    <a:lnTo>
                      <a:pt x="0" y="144"/>
                    </a:lnTo>
                    <a:lnTo>
                      <a:pt x="0" y="118"/>
                    </a:lnTo>
                    <a:lnTo>
                      <a:pt x="9" y="87"/>
                    </a:lnTo>
                    <a:lnTo>
                      <a:pt x="24" y="57"/>
                    </a:lnTo>
                    <a:lnTo>
                      <a:pt x="47" y="39"/>
                    </a:lnTo>
                    <a:lnTo>
                      <a:pt x="66" y="26"/>
                    </a:lnTo>
                    <a:lnTo>
                      <a:pt x="108" y="13"/>
                    </a:lnTo>
                    <a:lnTo>
                      <a:pt x="198" y="0"/>
                    </a:lnTo>
                    <a:lnTo>
                      <a:pt x="691" y="0"/>
                    </a:lnTo>
                    <a:lnTo>
                      <a:pt x="743" y="0"/>
                    </a:lnTo>
                    <a:lnTo>
                      <a:pt x="823" y="4"/>
                    </a:lnTo>
                    <a:lnTo>
                      <a:pt x="903" y="13"/>
                    </a:lnTo>
                    <a:cubicBezTo>
                      <a:pt x="923" y="17"/>
                      <a:pt x="936" y="25"/>
                      <a:pt x="945" y="31"/>
                    </a:cubicBezTo>
                    <a:lnTo>
                      <a:pt x="955" y="48"/>
                    </a:lnTo>
                    <a:lnTo>
                      <a:pt x="964" y="188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Freeform 4">
                <a:extLst>
                  <a:ext uri="{FF2B5EF4-FFF2-40B4-BE49-F238E27FC236}">
                    <a16:creationId xmlns:a16="http://schemas.microsoft.com/office/drawing/2014/main" id="{D7F9C5A2-83B2-4938-9C49-C9C668311A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84" y="1398"/>
                <a:ext cx="964" cy="188"/>
              </a:xfrm>
              <a:custGeom>
                <a:avLst/>
                <a:gdLst>
                  <a:gd name="T0" fmla="*/ 0 w 964"/>
                  <a:gd name="T1" fmla="*/ 0 h 188"/>
                  <a:gd name="T2" fmla="*/ 0 w 964"/>
                  <a:gd name="T3" fmla="*/ 44 h 188"/>
                  <a:gd name="T4" fmla="*/ 0 w 964"/>
                  <a:gd name="T5" fmla="*/ 70 h 188"/>
                  <a:gd name="T6" fmla="*/ 9 w 964"/>
                  <a:gd name="T7" fmla="*/ 101 h 188"/>
                  <a:gd name="T8" fmla="*/ 24 w 964"/>
                  <a:gd name="T9" fmla="*/ 131 h 188"/>
                  <a:gd name="T10" fmla="*/ 47 w 964"/>
                  <a:gd name="T11" fmla="*/ 149 h 188"/>
                  <a:gd name="T12" fmla="*/ 66 w 964"/>
                  <a:gd name="T13" fmla="*/ 162 h 188"/>
                  <a:gd name="T14" fmla="*/ 108 w 964"/>
                  <a:gd name="T15" fmla="*/ 175 h 188"/>
                  <a:gd name="T16" fmla="*/ 198 w 964"/>
                  <a:gd name="T17" fmla="*/ 188 h 188"/>
                  <a:gd name="T18" fmla="*/ 691 w 964"/>
                  <a:gd name="T19" fmla="*/ 188 h 188"/>
                  <a:gd name="T20" fmla="*/ 743 w 964"/>
                  <a:gd name="T21" fmla="*/ 188 h 188"/>
                  <a:gd name="T22" fmla="*/ 823 w 964"/>
                  <a:gd name="T23" fmla="*/ 184 h 188"/>
                  <a:gd name="T24" fmla="*/ 903 w 964"/>
                  <a:gd name="T25" fmla="*/ 175 h 188"/>
                  <a:gd name="T26" fmla="*/ 945 w 964"/>
                  <a:gd name="T27" fmla="*/ 157 h 188"/>
                  <a:gd name="T28" fmla="*/ 955 w 964"/>
                  <a:gd name="T29" fmla="*/ 140 h 188"/>
                  <a:gd name="T30" fmla="*/ 964 w 964"/>
                  <a:gd name="T31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64" h="188">
                    <a:moveTo>
                      <a:pt x="0" y="0"/>
                    </a:moveTo>
                    <a:lnTo>
                      <a:pt x="0" y="44"/>
                    </a:lnTo>
                    <a:lnTo>
                      <a:pt x="0" y="70"/>
                    </a:lnTo>
                    <a:lnTo>
                      <a:pt x="9" y="101"/>
                    </a:lnTo>
                    <a:lnTo>
                      <a:pt x="24" y="131"/>
                    </a:lnTo>
                    <a:lnTo>
                      <a:pt x="47" y="149"/>
                    </a:lnTo>
                    <a:lnTo>
                      <a:pt x="66" y="162"/>
                    </a:lnTo>
                    <a:lnTo>
                      <a:pt x="108" y="175"/>
                    </a:lnTo>
                    <a:lnTo>
                      <a:pt x="198" y="188"/>
                    </a:lnTo>
                    <a:lnTo>
                      <a:pt x="691" y="188"/>
                    </a:lnTo>
                    <a:lnTo>
                      <a:pt x="743" y="188"/>
                    </a:lnTo>
                    <a:lnTo>
                      <a:pt x="823" y="184"/>
                    </a:lnTo>
                    <a:lnTo>
                      <a:pt x="903" y="175"/>
                    </a:lnTo>
                    <a:cubicBezTo>
                      <a:pt x="923" y="171"/>
                      <a:pt x="936" y="163"/>
                      <a:pt x="945" y="157"/>
                    </a:cubicBezTo>
                    <a:lnTo>
                      <a:pt x="955" y="140"/>
                    </a:lnTo>
                    <a:lnTo>
                      <a:pt x="964" y="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BCB34520-DA93-4C24-BEA1-FEFDEEC9F5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40" y="1152"/>
                <a:ext cx="47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CB43A85E-A024-4F96-BDF1-CC6D633540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2166" y="1588"/>
                <a:ext cx="46" cy="44"/>
              </a:xfrm>
              <a:custGeom>
                <a:avLst/>
                <a:gdLst>
                  <a:gd name="T0" fmla="*/ 0 w 9"/>
                  <a:gd name="T1" fmla="*/ 10 h 10"/>
                  <a:gd name="T2" fmla="*/ 3 w 9"/>
                  <a:gd name="T3" fmla="*/ 3 h 10"/>
                  <a:gd name="T4" fmla="*/ 7 w 9"/>
                  <a:gd name="T5" fmla="*/ 0 h 10"/>
                  <a:gd name="T6" fmla="*/ 9 w 9"/>
                  <a:gd name="T7" fmla="*/ 0 h 10"/>
                  <a:gd name="T8" fmla="*/ 6 w 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3" y="3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6" y="10"/>
                    </a:lnTo>
                  </a:path>
                </a:pathLst>
              </a:custGeom>
              <a:solidFill>
                <a:srgbClr val="CCFFFF"/>
              </a:solidFill>
              <a:ln w="158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BE5F523-5102-4F2B-A4EF-5494719F939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2781301" y="4152900"/>
              <a:ext cx="2819400" cy="219075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3755B3B9-7A3D-4F6C-90F0-A90D81D5EAA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 flipV="1">
              <a:off x="4149725" y="3978276"/>
              <a:ext cx="84137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2640E78C-D091-4FB8-A17B-9A8156CAC385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890169" y="5560219"/>
              <a:ext cx="122237" cy="650875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EEE659C-B3CB-4F85-B974-A56C7A21AE66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3259931" y="5531645"/>
              <a:ext cx="142875" cy="684212"/>
            </a:xfrm>
            <a:custGeom>
              <a:avLst/>
              <a:gdLst>
                <a:gd name="T0" fmla="*/ 0 w 6"/>
                <a:gd name="T1" fmla="*/ 0 h 39"/>
                <a:gd name="T2" fmla="*/ 5 w 6"/>
                <a:gd name="T3" fmla="*/ 8 h 39"/>
                <a:gd name="T4" fmla="*/ 6 w 6"/>
                <a:gd name="T5" fmla="*/ 17 h 39"/>
                <a:gd name="T6" fmla="*/ 6 w 6"/>
                <a:gd name="T7" fmla="*/ 25 h 39"/>
                <a:gd name="T8" fmla="*/ 6 w 6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9">
                  <a:moveTo>
                    <a:pt x="0" y="0"/>
                  </a:moveTo>
                  <a:lnTo>
                    <a:pt x="5" y="8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6" y="39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" name="Group 11">
              <a:extLst>
                <a:ext uri="{FF2B5EF4-FFF2-40B4-BE49-F238E27FC236}">
                  <a16:creationId xmlns:a16="http://schemas.microsoft.com/office/drawing/2014/main" id="{B24091AE-A9BF-4509-B5EB-CA764663AA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5410882">
              <a:off x="3203576" y="1595437"/>
              <a:ext cx="850900" cy="1216025"/>
              <a:chOff x="510" y="233"/>
              <a:chExt cx="42" cy="73"/>
            </a:xfrm>
          </p:grpSpPr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131A1551-0B03-410F-827B-6FE6C7BDC5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0" y="233"/>
                <a:ext cx="9" cy="35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Line 13">
                <a:extLst>
                  <a:ext uri="{FF2B5EF4-FFF2-40B4-BE49-F238E27FC236}">
                    <a16:creationId xmlns:a16="http://schemas.microsoft.com/office/drawing/2014/main" id="{E27CB1AF-86FC-4158-AD57-32961B165790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512" y="240"/>
                <a:ext cx="40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Line 14">
                <a:extLst>
                  <a:ext uri="{FF2B5EF4-FFF2-40B4-BE49-F238E27FC236}">
                    <a16:creationId xmlns:a16="http://schemas.microsoft.com/office/drawing/2014/main" id="{988D36C0-CEA5-4521-91EF-0CA505B03F2D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511" y="288"/>
                <a:ext cx="41" cy="12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C7589A5D-F7FD-4B32-8CC1-D415F04FD94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flipV="1">
                <a:off x="510" y="265"/>
                <a:ext cx="10" cy="41"/>
              </a:xfrm>
              <a:custGeom>
                <a:avLst/>
                <a:gdLst>
                  <a:gd name="T0" fmla="*/ 9 w 9"/>
                  <a:gd name="T1" fmla="*/ 0 h 35"/>
                  <a:gd name="T2" fmla="*/ 4 w 9"/>
                  <a:gd name="T3" fmla="*/ 8 h 35"/>
                  <a:gd name="T4" fmla="*/ 1 w 9"/>
                  <a:gd name="T5" fmla="*/ 16 h 35"/>
                  <a:gd name="T6" fmla="*/ 0 w 9"/>
                  <a:gd name="T7" fmla="*/ 25 h 35"/>
                  <a:gd name="T8" fmla="*/ 0 w 9"/>
                  <a:gd name="T9" fmla="*/ 31 h 35"/>
                  <a:gd name="T10" fmla="*/ 0 w 9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5">
                    <a:moveTo>
                      <a:pt x="9" y="0"/>
                    </a:moveTo>
                    <a:lnTo>
                      <a:pt x="4" y="8"/>
                    </a:lnTo>
                    <a:lnTo>
                      <a:pt x="1" y="16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5"/>
                    </a:lnTo>
                  </a:path>
                </a:pathLst>
              </a:custGeom>
              <a:noFill/>
              <a:ln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CC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829B4C15-2ECA-4F25-9503-6277729E612E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 flipV="1">
              <a:off x="1643063" y="4108450"/>
              <a:ext cx="2820988" cy="217487"/>
            </a:xfrm>
            <a:custGeom>
              <a:avLst/>
              <a:gdLst>
                <a:gd name="T0" fmla="*/ 0 w 100"/>
                <a:gd name="T1" fmla="*/ 0 h 13"/>
                <a:gd name="T2" fmla="*/ 24 w 100"/>
                <a:gd name="T3" fmla="*/ 9 h 13"/>
                <a:gd name="T4" fmla="*/ 51 w 100"/>
                <a:gd name="T5" fmla="*/ 13 h 13"/>
                <a:gd name="T6" fmla="*/ 69 w 100"/>
                <a:gd name="T7" fmla="*/ 13 h 13"/>
                <a:gd name="T8" fmla="*/ 78 w 100"/>
                <a:gd name="T9" fmla="*/ 13 h 13"/>
                <a:gd name="T10" fmla="*/ 86 w 100"/>
                <a:gd name="T11" fmla="*/ 12 h 13"/>
                <a:gd name="T12" fmla="*/ 94 w 100"/>
                <a:gd name="T13" fmla="*/ 6 h 13"/>
                <a:gd name="T14" fmla="*/ 100 w 100"/>
                <a:gd name="T15" fmla="*/ 2 h 13"/>
                <a:gd name="T16" fmla="*/ 0 w 100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3">
                  <a:moveTo>
                    <a:pt x="0" y="0"/>
                  </a:moveTo>
                  <a:lnTo>
                    <a:pt x="24" y="9"/>
                  </a:lnTo>
                  <a:lnTo>
                    <a:pt x="51" y="13"/>
                  </a:lnTo>
                  <a:lnTo>
                    <a:pt x="69" y="13"/>
                  </a:lnTo>
                  <a:lnTo>
                    <a:pt x="78" y="13"/>
                  </a:lnTo>
                  <a:lnTo>
                    <a:pt x="86" y="12"/>
                  </a:lnTo>
                  <a:lnTo>
                    <a:pt x="94" y="6"/>
                  </a:lnTo>
                  <a:lnTo>
                    <a:pt x="10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5D5AE646-1763-455F-9268-F7C771D101A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10882" flipH="1">
              <a:off x="3014663" y="4014788"/>
              <a:ext cx="87312" cy="201612"/>
            </a:xfrm>
            <a:prstGeom prst="line">
              <a:avLst/>
            </a:prstGeom>
            <a:noFill/>
            <a:ln w="603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BC2D9E76-4C7B-4F01-B05F-A31844BB0B53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271838" y="2279650"/>
              <a:ext cx="712788" cy="1284287"/>
            </a:xfrm>
            <a:custGeom>
              <a:avLst/>
              <a:gdLst>
                <a:gd name="T0" fmla="*/ 10 w 35"/>
                <a:gd name="T1" fmla="*/ 0 h 77"/>
                <a:gd name="T2" fmla="*/ 35 w 35"/>
                <a:gd name="T3" fmla="*/ 10 h 77"/>
                <a:gd name="T4" fmla="*/ 33 w 35"/>
                <a:gd name="T5" fmla="*/ 19 h 77"/>
                <a:gd name="T6" fmla="*/ 32 w 35"/>
                <a:gd name="T7" fmla="*/ 28 h 77"/>
                <a:gd name="T8" fmla="*/ 32 w 35"/>
                <a:gd name="T9" fmla="*/ 33 h 77"/>
                <a:gd name="T10" fmla="*/ 32 w 35"/>
                <a:gd name="T11" fmla="*/ 37 h 77"/>
                <a:gd name="T12" fmla="*/ 32 w 35"/>
                <a:gd name="T13" fmla="*/ 49 h 77"/>
                <a:gd name="T14" fmla="*/ 33 w 35"/>
                <a:gd name="T15" fmla="*/ 55 h 77"/>
                <a:gd name="T16" fmla="*/ 35 w 35"/>
                <a:gd name="T17" fmla="*/ 66 h 77"/>
                <a:gd name="T18" fmla="*/ 9 w 35"/>
                <a:gd name="T19" fmla="*/ 77 h 77"/>
                <a:gd name="T20" fmla="*/ 5 w 35"/>
                <a:gd name="T21" fmla="*/ 68 h 77"/>
                <a:gd name="T22" fmla="*/ 3 w 35"/>
                <a:gd name="T23" fmla="*/ 60 h 77"/>
                <a:gd name="T24" fmla="*/ 1 w 35"/>
                <a:gd name="T25" fmla="*/ 50 h 77"/>
                <a:gd name="T26" fmla="*/ 0 w 35"/>
                <a:gd name="T27" fmla="*/ 37 h 77"/>
                <a:gd name="T28" fmla="*/ 1 w 35"/>
                <a:gd name="T29" fmla="*/ 25 h 77"/>
                <a:gd name="T30" fmla="*/ 2 w 35"/>
                <a:gd name="T31" fmla="*/ 18 h 77"/>
                <a:gd name="T32" fmla="*/ 3 w 35"/>
                <a:gd name="T33" fmla="*/ 11 h 77"/>
                <a:gd name="T34" fmla="*/ 7 w 35"/>
                <a:gd name="T35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77">
                  <a:moveTo>
                    <a:pt x="10" y="0"/>
                  </a:moveTo>
                  <a:lnTo>
                    <a:pt x="35" y="10"/>
                  </a:lnTo>
                  <a:lnTo>
                    <a:pt x="33" y="19"/>
                  </a:lnTo>
                  <a:lnTo>
                    <a:pt x="32" y="28"/>
                  </a:lnTo>
                  <a:lnTo>
                    <a:pt x="32" y="33"/>
                  </a:lnTo>
                  <a:lnTo>
                    <a:pt x="32" y="37"/>
                  </a:lnTo>
                  <a:lnTo>
                    <a:pt x="32" y="49"/>
                  </a:lnTo>
                  <a:lnTo>
                    <a:pt x="33" y="55"/>
                  </a:lnTo>
                  <a:lnTo>
                    <a:pt x="35" y="66"/>
                  </a:lnTo>
                  <a:lnTo>
                    <a:pt x="9" y="77"/>
                  </a:lnTo>
                  <a:lnTo>
                    <a:pt x="5" y="68"/>
                  </a:lnTo>
                  <a:lnTo>
                    <a:pt x="3" y="60"/>
                  </a:lnTo>
                  <a:lnTo>
                    <a:pt x="1" y="50"/>
                  </a:lnTo>
                  <a:lnTo>
                    <a:pt x="0" y="37"/>
                  </a:lnTo>
                  <a:lnTo>
                    <a:pt x="1" y="25"/>
                  </a:lnTo>
                  <a:lnTo>
                    <a:pt x="2" y="18"/>
                  </a:lnTo>
                  <a:lnTo>
                    <a:pt x="3" y="11"/>
                  </a:lnTo>
                  <a:lnTo>
                    <a:pt x="7" y="1"/>
                  </a:lnTo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2B8789F2-6FD0-4B4A-A2BC-00CF17E3F6BD}"/>
                </a:ext>
              </a:extLst>
            </p:cNvPr>
            <p:cNvSpPr>
              <a:spLocks noChangeAspect="1"/>
            </p:cNvSpPr>
            <p:nvPr/>
          </p:nvSpPr>
          <p:spPr bwMode="auto">
            <a:xfrm rot="5410882">
              <a:off x="3460750" y="5127625"/>
              <a:ext cx="298450" cy="1136650"/>
            </a:xfrm>
            <a:custGeom>
              <a:avLst/>
              <a:gdLst>
                <a:gd name="T0" fmla="*/ 5 w 38"/>
                <a:gd name="T1" fmla="*/ 37 h 74"/>
                <a:gd name="T2" fmla="*/ 5 w 38"/>
                <a:gd name="T3" fmla="*/ 28 h 74"/>
                <a:gd name="T4" fmla="*/ 5 w 38"/>
                <a:gd name="T5" fmla="*/ 22 h 74"/>
                <a:gd name="T6" fmla="*/ 3 w 38"/>
                <a:gd name="T7" fmla="*/ 15 h 74"/>
                <a:gd name="T8" fmla="*/ 0 w 38"/>
                <a:gd name="T9" fmla="*/ 10 h 74"/>
                <a:gd name="T10" fmla="*/ 11 w 38"/>
                <a:gd name="T11" fmla="*/ 4 h 74"/>
                <a:gd name="T12" fmla="*/ 22 w 38"/>
                <a:gd name="T13" fmla="*/ 0 h 74"/>
                <a:gd name="T14" fmla="*/ 27 w 38"/>
                <a:gd name="T15" fmla="*/ 5 h 74"/>
                <a:gd name="T16" fmla="*/ 32 w 38"/>
                <a:gd name="T17" fmla="*/ 13 h 74"/>
                <a:gd name="T18" fmla="*/ 36 w 38"/>
                <a:gd name="T19" fmla="*/ 24 h 74"/>
                <a:gd name="T20" fmla="*/ 37 w 38"/>
                <a:gd name="T21" fmla="*/ 32 h 74"/>
                <a:gd name="T22" fmla="*/ 38 w 38"/>
                <a:gd name="T23" fmla="*/ 38 h 74"/>
                <a:gd name="T24" fmla="*/ 37 w 38"/>
                <a:gd name="T25" fmla="*/ 53 h 74"/>
                <a:gd name="T26" fmla="*/ 33 w 38"/>
                <a:gd name="T27" fmla="*/ 66 h 74"/>
                <a:gd name="T28" fmla="*/ 25 w 38"/>
                <a:gd name="T29" fmla="*/ 74 h 74"/>
                <a:gd name="T30" fmla="*/ 1 w 38"/>
                <a:gd name="T31" fmla="*/ 66 h 74"/>
                <a:gd name="T32" fmla="*/ 4 w 38"/>
                <a:gd name="T33" fmla="*/ 59 h 74"/>
                <a:gd name="T34" fmla="*/ 6 w 38"/>
                <a:gd name="T35" fmla="*/ 51 h 74"/>
                <a:gd name="T36" fmla="*/ 5 w 38"/>
                <a:gd name="T37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74">
                  <a:moveTo>
                    <a:pt x="5" y="37"/>
                  </a:moveTo>
                  <a:lnTo>
                    <a:pt x="5" y="28"/>
                  </a:lnTo>
                  <a:lnTo>
                    <a:pt x="5" y="22"/>
                  </a:lnTo>
                  <a:lnTo>
                    <a:pt x="3" y="15"/>
                  </a:lnTo>
                  <a:lnTo>
                    <a:pt x="0" y="10"/>
                  </a:lnTo>
                  <a:lnTo>
                    <a:pt x="11" y="4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2" y="13"/>
                  </a:lnTo>
                  <a:lnTo>
                    <a:pt x="36" y="24"/>
                  </a:lnTo>
                  <a:lnTo>
                    <a:pt x="37" y="32"/>
                  </a:lnTo>
                  <a:lnTo>
                    <a:pt x="38" y="38"/>
                  </a:lnTo>
                  <a:lnTo>
                    <a:pt x="37" y="53"/>
                  </a:lnTo>
                  <a:lnTo>
                    <a:pt x="33" y="66"/>
                  </a:lnTo>
                  <a:lnTo>
                    <a:pt x="25" y="74"/>
                  </a:lnTo>
                  <a:lnTo>
                    <a:pt x="1" y="66"/>
                  </a:lnTo>
                  <a:lnTo>
                    <a:pt x="4" y="59"/>
                  </a:lnTo>
                  <a:lnTo>
                    <a:pt x="6" y="51"/>
                  </a:lnTo>
                  <a:lnTo>
                    <a:pt x="5" y="37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5" name="Group 20">
              <a:extLst>
                <a:ext uri="{FF2B5EF4-FFF2-40B4-BE49-F238E27FC236}">
                  <a16:creationId xmlns:a16="http://schemas.microsoft.com/office/drawing/2014/main" id="{34A83CA8-336B-4369-BDA2-29E3B82BE7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95751" y="4592648"/>
              <a:ext cx="228600" cy="228600"/>
              <a:chOff x="1681" y="2780"/>
              <a:chExt cx="144" cy="144"/>
            </a:xfrm>
          </p:grpSpPr>
          <p:sp>
            <p:nvSpPr>
              <p:cNvPr id="26" name="Rectangle 21">
                <a:extLst>
                  <a:ext uri="{FF2B5EF4-FFF2-40B4-BE49-F238E27FC236}">
                    <a16:creationId xmlns:a16="http://schemas.microsoft.com/office/drawing/2014/main" id="{CBC218AC-542A-4400-990E-10A059731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Line 22">
                <a:extLst>
                  <a:ext uri="{FF2B5EF4-FFF2-40B4-BE49-F238E27FC236}">
                    <a16:creationId xmlns:a16="http://schemas.microsoft.com/office/drawing/2014/main" id="{84CA9D3F-2D0F-4940-BA87-789BD79F23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509FE13A-C0A0-4CB1-A9A6-7344DDEA2DF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86225" y="3825890"/>
              <a:ext cx="228600" cy="228600"/>
              <a:chOff x="1691" y="2801"/>
              <a:chExt cx="144" cy="144"/>
            </a:xfrm>
          </p:grpSpPr>
          <p:sp>
            <p:nvSpPr>
              <p:cNvPr id="29" name="Rectangle 24">
                <a:extLst>
                  <a:ext uri="{FF2B5EF4-FFF2-40B4-BE49-F238E27FC236}">
                    <a16:creationId xmlns:a16="http://schemas.microsoft.com/office/drawing/2014/main" id="{09475330-80FD-40C8-8365-0802AC95A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01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Line 25">
                <a:extLst>
                  <a:ext uri="{FF2B5EF4-FFF2-40B4-BE49-F238E27FC236}">
                    <a16:creationId xmlns:a16="http://schemas.microsoft.com/office/drawing/2014/main" id="{3EB67A7B-8FFE-4BBA-855D-4D95F959F8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75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A26121E8-E643-46D2-9233-FB29B0B555DF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17825" y="4592648"/>
              <a:ext cx="228600" cy="228600"/>
              <a:chOff x="1691" y="2780"/>
              <a:chExt cx="144" cy="144"/>
            </a:xfrm>
          </p:grpSpPr>
          <p:sp>
            <p:nvSpPr>
              <p:cNvPr id="32" name="Rectangle 27">
                <a:extLst>
                  <a:ext uri="{FF2B5EF4-FFF2-40B4-BE49-F238E27FC236}">
                    <a16:creationId xmlns:a16="http://schemas.microsoft.com/office/drawing/2014/main" id="{B07EC156-99A4-4405-AD45-36E6D938E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780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Line 28">
                <a:extLst>
                  <a:ext uri="{FF2B5EF4-FFF2-40B4-BE49-F238E27FC236}">
                    <a16:creationId xmlns:a16="http://schemas.microsoft.com/office/drawing/2014/main" id="{FA23A75D-BFC4-488B-A8B6-B590CFF33D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54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4" name="Group 29">
              <a:extLst>
                <a:ext uri="{FF2B5EF4-FFF2-40B4-BE49-F238E27FC236}">
                  <a16:creationId xmlns:a16="http://schemas.microsoft.com/office/drawing/2014/main" id="{66B5BBFC-1EB0-4522-82E3-C34855DF41F3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2936875" y="3848113"/>
              <a:ext cx="228600" cy="228600"/>
              <a:chOff x="1691" y="2815"/>
              <a:chExt cx="144" cy="144"/>
            </a:xfrm>
          </p:grpSpPr>
          <p:sp>
            <p:nvSpPr>
              <p:cNvPr id="35" name="Rectangle 30">
                <a:extLst>
                  <a:ext uri="{FF2B5EF4-FFF2-40B4-BE49-F238E27FC236}">
                    <a16:creationId xmlns:a16="http://schemas.microsoft.com/office/drawing/2014/main" id="{9B2A1DFC-3A2E-4DE5-B339-F1DB40305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" y="2815"/>
                <a:ext cx="144" cy="144"/>
              </a:xfrm>
              <a:prstGeom prst="rect">
                <a:avLst/>
              </a:prstGeom>
              <a:solidFill>
                <a:srgbClr val="FFCC0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Line 31">
                <a:extLst>
                  <a:ext uri="{FF2B5EF4-FFF2-40B4-BE49-F238E27FC236}">
                    <a16:creationId xmlns:a16="http://schemas.microsoft.com/office/drawing/2014/main" id="{39318B44-9415-4E12-BF53-236FFB1C0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882"/>
                <a:ext cx="109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37" name="Rectangle 32">
              <a:extLst>
                <a:ext uri="{FF2B5EF4-FFF2-40B4-BE49-F238E27FC236}">
                  <a16:creationId xmlns:a16="http://schemas.microsoft.com/office/drawing/2014/main" id="{8A749DAA-73AC-45C0-B40A-C9E487ACD87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522663" y="3035300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Line 33">
              <a:extLst>
                <a:ext uri="{FF2B5EF4-FFF2-40B4-BE49-F238E27FC236}">
                  <a16:creationId xmlns:a16="http://schemas.microsoft.com/office/drawing/2014/main" id="{F0274E69-76EE-43BD-8703-45E4521002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33775" y="3209925"/>
              <a:ext cx="206375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 type="triangle" w="sm" len="sm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Line 34">
              <a:extLst>
                <a:ext uri="{FF2B5EF4-FFF2-40B4-BE49-F238E27FC236}">
                  <a16:creationId xmlns:a16="http://schemas.microsoft.com/office/drawing/2014/main" id="{5180F4AB-1CA4-4BE2-9ECB-C4E17D811B8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561556" y="3101182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Line 41">
              <a:extLst>
                <a:ext uri="{FF2B5EF4-FFF2-40B4-BE49-F238E27FC236}">
                  <a16:creationId xmlns:a16="http://schemas.microsoft.com/office/drawing/2014/main" id="{649E493A-43BA-4B56-A6DE-E191BE49F2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60688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Line 42">
              <a:extLst>
                <a:ext uri="{FF2B5EF4-FFF2-40B4-BE49-F238E27FC236}">
                  <a16:creationId xmlns:a16="http://schemas.microsoft.com/office/drawing/2014/main" id="{24BA6E6C-8622-4052-AFC0-446B8A1D86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9400" y="4848225"/>
              <a:ext cx="203200" cy="17463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Rectangle 32">
              <a:extLst>
                <a:ext uri="{FF2B5EF4-FFF2-40B4-BE49-F238E27FC236}">
                  <a16:creationId xmlns:a16="http://schemas.microsoft.com/office/drawing/2014/main" id="{F59838F1-FFE5-4732-B9AE-80BD6D4AE35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075472" y="1942339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Rectangle 32">
              <a:extLst>
                <a:ext uri="{FF2B5EF4-FFF2-40B4-BE49-F238E27FC236}">
                  <a16:creationId xmlns:a16="http://schemas.microsoft.com/office/drawing/2014/main" id="{6E3C1DCB-7641-4BBC-9D2C-190BB5286B5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942496" y="1958934"/>
              <a:ext cx="227012" cy="228600"/>
            </a:xfrm>
            <a:prstGeom prst="rect">
              <a:avLst/>
            </a:prstGeom>
            <a:solidFill>
              <a:srgbClr val="FFCC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Line 34">
              <a:extLst>
                <a:ext uri="{FF2B5EF4-FFF2-40B4-BE49-F238E27FC236}">
                  <a16:creationId xmlns:a16="http://schemas.microsoft.com/office/drawing/2014/main" id="{976DB479-081B-4CA4-9A56-99BCBC3B389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102097" y="2042648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Line 34">
              <a:extLst>
                <a:ext uri="{FF2B5EF4-FFF2-40B4-BE49-F238E27FC236}">
                  <a16:creationId xmlns:a16="http://schemas.microsoft.com/office/drawing/2014/main" id="{0FA88ABB-B3DE-450F-908B-2504F2BE0F1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H="1">
              <a:off x="3983758" y="2051477"/>
              <a:ext cx="141287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388F4226-109F-4E39-AF86-41CAC8CD960E}"/>
              </a:ext>
            </a:extLst>
          </p:cNvPr>
          <p:cNvSpPr/>
          <p:nvPr/>
        </p:nvSpPr>
        <p:spPr>
          <a:xfrm>
            <a:off x="6767544" y="1491630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98E8F14-94F6-49C7-B59D-B9428FFB523A}"/>
              </a:ext>
            </a:extLst>
          </p:cNvPr>
          <p:cNvSpPr/>
          <p:nvPr/>
        </p:nvSpPr>
        <p:spPr>
          <a:xfrm>
            <a:off x="6713327" y="3382818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1R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64B1DF-02BA-4D0E-B7B2-F087A978D0FD}"/>
              </a:ext>
            </a:extLst>
          </p:cNvPr>
          <p:cNvSpPr/>
          <p:nvPr/>
        </p:nvSpPr>
        <p:spPr>
          <a:xfrm>
            <a:off x="6083936" y="3392462"/>
            <a:ext cx="51525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R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A058FC7-9E2D-4234-95D0-A27D3025A020}"/>
              </a:ext>
            </a:extLst>
          </p:cNvPr>
          <p:cNvSpPr/>
          <p:nvPr/>
        </p:nvSpPr>
        <p:spPr>
          <a:xfrm>
            <a:off x="6091077" y="1495399"/>
            <a:ext cx="468752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R2L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A44F1E0-6CE3-4BC5-9F5B-CDA3C6B9996F}"/>
              </a:ext>
            </a:extLst>
          </p:cNvPr>
          <p:cNvSpPr/>
          <p:nvPr/>
        </p:nvSpPr>
        <p:spPr>
          <a:xfrm>
            <a:off x="8160503" y="1602342"/>
            <a:ext cx="510134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L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05DC017-ADDA-4D4F-A366-741B7E8C5A79}"/>
              </a:ext>
            </a:extLst>
          </p:cNvPr>
          <p:cNvSpPr/>
          <p:nvPr/>
        </p:nvSpPr>
        <p:spPr>
          <a:xfrm>
            <a:off x="8147661" y="3301796"/>
            <a:ext cx="522975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UF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A7B52E7-F234-4A6D-B0EC-89456E630DD6}"/>
              </a:ext>
            </a:extLst>
          </p:cNvPr>
          <p:cNvSpPr/>
          <p:nvPr/>
        </p:nvSpPr>
        <p:spPr>
          <a:xfrm>
            <a:off x="7241159" y="2173516"/>
            <a:ext cx="527393" cy="232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X, Y</a:t>
            </a:r>
          </a:p>
        </p:txBody>
      </p:sp>
    </p:spTree>
    <p:extLst>
      <p:ext uri="{BB962C8B-B14F-4D97-AF65-F5344CB8AC3E}">
        <p14:creationId xmlns:p14="http://schemas.microsoft.com/office/powerpoint/2010/main" val="34748665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/>
              <a:t>for your attention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ank you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94D60-AFCA-4DA9-AB30-164C297ECBB5}" type="datetime3">
              <a:rPr lang="en-US" smtClean="0"/>
              <a:pPr/>
              <a:t>15 November 2018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61975206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04FCEA-9274-45F0-A637-B2A8D9159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ACB151-B99C-466F-9F3F-E2526A2E0E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7869C5-DE12-4F8D-9495-913C7D377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1156AF77-A900-4B40-B51B-B48F7415F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assive Safety Algorithms are Classifiers</a:t>
            </a:r>
            <a:br>
              <a:rPr lang="en-US" dirty="0"/>
            </a:br>
            <a:r>
              <a:rPr lang="en-US" dirty="0"/>
              <a:t>Pattern recognition methods</a:t>
            </a:r>
            <a:endParaRPr lang="en-US" b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E4D232C4-E55B-4B56-BA17-C41B5EF8D3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5518238"/>
              </p:ext>
            </p:extLst>
          </p:nvPr>
        </p:nvGraphicFramePr>
        <p:xfrm>
          <a:off x="395288" y="1347788"/>
          <a:ext cx="8353425" cy="3059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2ED44590-6606-489F-8966-6CDDA5F61D21}"/>
              </a:ext>
            </a:extLst>
          </p:cNvPr>
          <p:cNvSpPr/>
          <p:nvPr/>
        </p:nvSpPr>
        <p:spPr>
          <a:xfrm>
            <a:off x="467544" y="2067694"/>
            <a:ext cx="936104" cy="576064"/>
          </a:xfrm>
          <a:prstGeom prst="wedgeRectCallout">
            <a:avLst>
              <a:gd name="adj1" fmla="val 48671"/>
              <a:gd name="adj2" fmla="val 111341"/>
            </a:avLst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assive safety algorithms</a:t>
            </a:r>
          </a:p>
        </p:txBody>
      </p:sp>
    </p:spTree>
    <p:extLst>
      <p:ext uri="{BB962C8B-B14F-4D97-AF65-F5344CB8AC3E}">
        <p14:creationId xmlns:p14="http://schemas.microsoft.com/office/powerpoint/2010/main" val="11009873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8BA009-E69A-46F8-99F9-ECFB8DFAE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1/F2/F3 Classes</a:t>
            </a:r>
            <a:br>
              <a:rPr lang="en-US" dirty="0"/>
            </a:br>
            <a:r>
              <a:rPr lang="en-US" dirty="0"/>
              <a:t>Wall Rigid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D2FF36-9F0F-4964-967F-13BAEA36E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30E92E-3EDE-4E6F-8D3C-3880659CC1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3FE59A-0C22-4E0F-9B03-6ECB40B34A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04F4C493-80C6-4280-B6B2-A12DDEA160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" r="80829"/>
          <a:stretch>
            <a:fillRect/>
          </a:stretch>
        </p:blipFill>
        <p:spPr bwMode="auto">
          <a:xfrm>
            <a:off x="7021520" y="915566"/>
            <a:ext cx="1584325" cy="2913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45FC7240-5BA3-4DB3-BF19-076A31B11B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en-US" dirty="0"/>
              <a:t>F1 Class 19/26 km/h </a:t>
            </a:r>
          </a:p>
          <a:p>
            <a:r>
              <a:rPr lang="en-US" dirty="0"/>
              <a:t>F2 Class 34/40 km/h</a:t>
            </a:r>
          </a:p>
          <a:p>
            <a:r>
              <a:rPr lang="en-US" dirty="0"/>
              <a:t>F3 Class 56 km/h </a:t>
            </a:r>
          </a:p>
        </p:txBody>
      </p:sp>
    </p:spTree>
    <p:extLst>
      <p:ext uri="{BB962C8B-B14F-4D97-AF65-F5344CB8AC3E}">
        <p14:creationId xmlns:p14="http://schemas.microsoft.com/office/powerpoint/2010/main" val="411653667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0E096D-FCF2-45E1-86B2-0C5447985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4 Class</a:t>
            </a:r>
            <a:br>
              <a:rPr lang="en-US" dirty="0"/>
            </a:br>
            <a:r>
              <a:rPr lang="en-US" dirty="0"/>
              <a:t>Offset Deformable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E591C0-837E-4C1D-9D86-54D5AB3FD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DA8F14-C758-4B40-AC54-3ADB939C1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487EE5-989F-4884-A509-10331C0087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7" name="Group 434">
            <a:extLst>
              <a:ext uri="{FF2B5EF4-FFF2-40B4-BE49-F238E27FC236}">
                <a16:creationId xmlns:a16="http://schemas.microsoft.com/office/drawing/2014/main" id="{C038A58A-B54F-4896-B414-3105A2884C70}"/>
              </a:ext>
            </a:extLst>
          </p:cNvPr>
          <p:cNvGrpSpPr>
            <a:grpSpLocks/>
          </p:cNvGrpSpPr>
          <p:nvPr/>
        </p:nvGrpSpPr>
        <p:grpSpPr bwMode="auto">
          <a:xfrm>
            <a:off x="6772219" y="1419622"/>
            <a:ext cx="1889126" cy="2578179"/>
            <a:chOff x="4669" y="1223"/>
            <a:chExt cx="1241" cy="1674"/>
          </a:xfrm>
        </p:grpSpPr>
        <p:sp>
          <p:nvSpPr>
            <p:cNvPr id="8" name="Line 211">
              <a:extLst>
                <a:ext uri="{FF2B5EF4-FFF2-40B4-BE49-F238E27FC236}">
                  <a16:creationId xmlns:a16="http://schemas.microsoft.com/office/drawing/2014/main" id="{C462BFD5-ADCD-411D-B5E2-F9692EF162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" y="2236"/>
              <a:ext cx="819" cy="1"/>
            </a:xfrm>
            <a:prstGeom prst="line">
              <a:avLst/>
            </a:prstGeom>
            <a:noFill/>
            <a:ln w="0">
              <a:solidFill>
                <a:srgbClr val="2328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212">
              <a:extLst>
                <a:ext uri="{FF2B5EF4-FFF2-40B4-BE49-F238E27FC236}">
                  <a16:creationId xmlns:a16="http://schemas.microsoft.com/office/drawing/2014/main" id="{1F379152-479C-46B5-BC78-C7BBB8BFA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141"/>
              <a:ext cx="370" cy="36"/>
            </a:xfrm>
            <a:custGeom>
              <a:avLst/>
              <a:gdLst>
                <a:gd name="T0" fmla="*/ 1 w 29"/>
                <a:gd name="T1" fmla="*/ 3 h 3"/>
                <a:gd name="T2" fmla="*/ 1 w 29"/>
                <a:gd name="T3" fmla="*/ 3 h 3"/>
                <a:gd name="T4" fmla="*/ 0 w 29"/>
                <a:gd name="T5" fmla="*/ 3 h 3"/>
                <a:gd name="T6" fmla="*/ 1 w 29"/>
                <a:gd name="T7" fmla="*/ 2 h 3"/>
                <a:gd name="T8" fmla="*/ 1 w 29"/>
                <a:gd name="T9" fmla="*/ 2 h 3"/>
                <a:gd name="T10" fmla="*/ 2 w 29"/>
                <a:gd name="T11" fmla="*/ 2 h 3"/>
                <a:gd name="T12" fmla="*/ 3 w 29"/>
                <a:gd name="T13" fmla="*/ 1 h 3"/>
                <a:gd name="T14" fmla="*/ 3 w 29"/>
                <a:gd name="T15" fmla="*/ 1 h 3"/>
                <a:gd name="T16" fmla="*/ 5 w 29"/>
                <a:gd name="T17" fmla="*/ 1 h 3"/>
                <a:gd name="T18" fmla="*/ 6 w 29"/>
                <a:gd name="T19" fmla="*/ 1 h 3"/>
                <a:gd name="T20" fmla="*/ 7 w 29"/>
                <a:gd name="T21" fmla="*/ 0 h 3"/>
                <a:gd name="T22" fmla="*/ 8 w 29"/>
                <a:gd name="T23" fmla="*/ 0 h 3"/>
                <a:gd name="T24" fmla="*/ 9 w 29"/>
                <a:gd name="T25" fmla="*/ 0 h 3"/>
                <a:gd name="T26" fmla="*/ 10 w 29"/>
                <a:gd name="T27" fmla="*/ 0 h 3"/>
                <a:gd name="T28" fmla="*/ 11 w 29"/>
                <a:gd name="T29" fmla="*/ 0 h 3"/>
                <a:gd name="T30" fmla="*/ 12 w 29"/>
                <a:gd name="T31" fmla="*/ 0 h 3"/>
                <a:gd name="T32" fmla="*/ 15 w 29"/>
                <a:gd name="T33" fmla="*/ 0 h 3"/>
                <a:gd name="T34" fmla="*/ 15 w 29"/>
                <a:gd name="T35" fmla="*/ 0 h 3"/>
                <a:gd name="T36" fmla="*/ 16 w 29"/>
                <a:gd name="T37" fmla="*/ 0 h 3"/>
                <a:gd name="T38" fmla="*/ 18 w 29"/>
                <a:gd name="T39" fmla="*/ 0 h 3"/>
                <a:gd name="T40" fmla="*/ 21 w 29"/>
                <a:gd name="T41" fmla="*/ 0 h 3"/>
                <a:gd name="T42" fmla="*/ 22 w 29"/>
                <a:gd name="T43" fmla="*/ 0 h 3"/>
                <a:gd name="T44" fmla="*/ 23 w 29"/>
                <a:gd name="T45" fmla="*/ 0 h 3"/>
                <a:gd name="T46" fmla="*/ 23 w 29"/>
                <a:gd name="T47" fmla="*/ 1 h 3"/>
                <a:gd name="T48" fmla="*/ 24 w 29"/>
                <a:gd name="T49" fmla="*/ 1 h 3"/>
                <a:gd name="T50" fmla="*/ 25 w 29"/>
                <a:gd name="T51" fmla="*/ 1 h 3"/>
                <a:gd name="T52" fmla="*/ 26 w 29"/>
                <a:gd name="T53" fmla="*/ 1 h 3"/>
                <a:gd name="T54" fmla="*/ 27 w 29"/>
                <a:gd name="T55" fmla="*/ 1 h 3"/>
                <a:gd name="T56" fmla="*/ 28 w 29"/>
                <a:gd name="T57" fmla="*/ 2 h 3"/>
                <a:gd name="T58" fmla="*/ 29 w 29"/>
                <a:gd name="T59" fmla="*/ 2 h 3"/>
                <a:gd name="T60" fmla="*/ 29 w 29"/>
                <a:gd name="T61" fmla="*/ 2 h 3"/>
                <a:gd name="T62" fmla="*/ 29 w 29"/>
                <a:gd name="T63" fmla="*/ 2 h 3"/>
                <a:gd name="T64" fmla="*/ 29 w 29"/>
                <a:gd name="T65" fmla="*/ 2 h 3"/>
                <a:gd name="T66" fmla="*/ 29 w 29"/>
                <a:gd name="T67" fmla="*/ 3 h 3"/>
                <a:gd name="T68" fmla="*/ 28 w 29"/>
                <a:gd name="T69" fmla="*/ 3 h 3"/>
                <a:gd name="T70" fmla="*/ 28 w 29"/>
                <a:gd name="T71" fmla="*/ 3 h 3"/>
                <a:gd name="T72" fmla="*/ 27 w 29"/>
                <a:gd name="T73" fmla="*/ 2 h 3"/>
                <a:gd name="T74" fmla="*/ 27 w 29"/>
                <a:gd name="T75" fmla="*/ 2 h 3"/>
                <a:gd name="T76" fmla="*/ 26 w 29"/>
                <a:gd name="T77" fmla="*/ 2 h 3"/>
                <a:gd name="T78" fmla="*/ 25 w 29"/>
                <a:gd name="T79" fmla="*/ 2 h 3"/>
                <a:gd name="T80" fmla="*/ 24 w 29"/>
                <a:gd name="T81" fmla="*/ 1 h 3"/>
                <a:gd name="T82" fmla="*/ 23 w 29"/>
                <a:gd name="T83" fmla="*/ 1 h 3"/>
                <a:gd name="T84" fmla="*/ 23 w 29"/>
                <a:gd name="T85" fmla="*/ 1 h 3"/>
                <a:gd name="T86" fmla="*/ 22 w 29"/>
                <a:gd name="T87" fmla="*/ 1 h 3"/>
                <a:gd name="T88" fmla="*/ 20 w 29"/>
                <a:gd name="T89" fmla="*/ 1 h 3"/>
                <a:gd name="T90" fmla="*/ 18 w 29"/>
                <a:gd name="T91" fmla="*/ 1 h 3"/>
                <a:gd name="T92" fmla="*/ 16 w 29"/>
                <a:gd name="T93" fmla="*/ 0 h 3"/>
                <a:gd name="T94" fmla="*/ 15 w 29"/>
                <a:gd name="T95" fmla="*/ 0 h 3"/>
                <a:gd name="T96" fmla="*/ 13 w 29"/>
                <a:gd name="T97" fmla="*/ 0 h 3"/>
                <a:gd name="T98" fmla="*/ 12 w 29"/>
                <a:gd name="T99" fmla="*/ 0 h 3"/>
                <a:gd name="T100" fmla="*/ 11 w 29"/>
                <a:gd name="T101" fmla="*/ 1 h 3"/>
                <a:gd name="T102" fmla="*/ 10 w 29"/>
                <a:gd name="T103" fmla="*/ 1 h 3"/>
                <a:gd name="T104" fmla="*/ 9 w 29"/>
                <a:gd name="T105" fmla="*/ 1 h 3"/>
                <a:gd name="T106" fmla="*/ 8 w 29"/>
                <a:gd name="T107" fmla="*/ 1 h 3"/>
                <a:gd name="T108" fmla="*/ 7 w 29"/>
                <a:gd name="T109" fmla="*/ 1 h 3"/>
                <a:gd name="T110" fmla="*/ 6 w 29"/>
                <a:gd name="T111" fmla="*/ 1 h 3"/>
                <a:gd name="T112" fmla="*/ 4 w 29"/>
                <a:gd name="T113" fmla="*/ 2 h 3"/>
                <a:gd name="T114" fmla="*/ 3 w 29"/>
                <a:gd name="T115" fmla="*/ 2 h 3"/>
                <a:gd name="T116" fmla="*/ 2 w 29"/>
                <a:gd name="T117" fmla="*/ 2 h 3"/>
                <a:gd name="T118" fmla="*/ 1 w 29"/>
                <a:gd name="T1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1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213">
              <a:extLst>
                <a:ext uri="{FF2B5EF4-FFF2-40B4-BE49-F238E27FC236}">
                  <a16:creationId xmlns:a16="http://schemas.microsoft.com/office/drawing/2014/main" id="{4BB4FB6A-308A-4A47-BFE2-98331BD26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" y="1988"/>
              <a:ext cx="50" cy="189"/>
            </a:xfrm>
            <a:custGeom>
              <a:avLst/>
              <a:gdLst>
                <a:gd name="T0" fmla="*/ 0 w 4"/>
                <a:gd name="T1" fmla="*/ 0 h 16"/>
                <a:gd name="T2" fmla="*/ 0 w 4"/>
                <a:gd name="T3" fmla="*/ 0 h 16"/>
                <a:gd name="T4" fmla="*/ 0 w 4"/>
                <a:gd name="T5" fmla="*/ 0 h 16"/>
                <a:gd name="T6" fmla="*/ 0 w 4"/>
                <a:gd name="T7" fmla="*/ 0 h 16"/>
                <a:gd name="T8" fmla="*/ 0 w 4"/>
                <a:gd name="T9" fmla="*/ 1 h 16"/>
                <a:gd name="T10" fmla="*/ 1 w 4"/>
                <a:gd name="T11" fmla="*/ 1 h 16"/>
                <a:gd name="T12" fmla="*/ 1 w 4"/>
                <a:gd name="T13" fmla="*/ 2 h 16"/>
                <a:gd name="T14" fmla="*/ 1 w 4"/>
                <a:gd name="T15" fmla="*/ 2 h 16"/>
                <a:gd name="T16" fmla="*/ 1 w 4"/>
                <a:gd name="T17" fmla="*/ 3 h 16"/>
                <a:gd name="T18" fmla="*/ 1 w 4"/>
                <a:gd name="T19" fmla="*/ 4 h 16"/>
                <a:gd name="T20" fmla="*/ 1 w 4"/>
                <a:gd name="T21" fmla="*/ 4 h 16"/>
                <a:gd name="T22" fmla="*/ 1 w 4"/>
                <a:gd name="T23" fmla="*/ 5 h 16"/>
                <a:gd name="T24" fmla="*/ 1 w 4"/>
                <a:gd name="T25" fmla="*/ 6 h 16"/>
                <a:gd name="T26" fmla="*/ 2 w 4"/>
                <a:gd name="T27" fmla="*/ 6 h 16"/>
                <a:gd name="T28" fmla="*/ 2 w 4"/>
                <a:gd name="T29" fmla="*/ 6 h 16"/>
                <a:gd name="T30" fmla="*/ 2 w 4"/>
                <a:gd name="T31" fmla="*/ 7 h 16"/>
                <a:gd name="T32" fmla="*/ 2 w 4"/>
                <a:gd name="T33" fmla="*/ 8 h 16"/>
                <a:gd name="T34" fmla="*/ 2 w 4"/>
                <a:gd name="T35" fmla="*/ 9 h 16"/>
                <a:gd name="T36" fmla="*/ 3 w 4"/>
                <a:gd name="T37" fmla="*/ 11 h 16"/>
                <a:gd name="T38" fmla="*/ 3 w 4"/>
                <a:gd name="T39" fmla="*/ 11 h 16"/>
                <a:gd name="T40" fmla="*/ 3 w 4"/>
                <a:gd name="T41" fmla="*/ 12 h 16"/>
                <a:gd name="T42" fmla="*/ 3 w 4"/>
                <a:gd name="T43" fmla="*/ 13 h 16"/>
                <a:gd name="T44" fmla="*/ 4 w 4"/>
                <a:gd name="T45" fmla="*/ 14 h 16"/>
                <a:gd name="T46" fmla="*/ 4 w 4"/>
                <a:gd name="T47" fmla="*/ 15 h 16"/>
                <a:gd name="T48" fmla="*/ 4 w 4"/>
                <a:gd name="T49" fmla="*/ 15 h 16"/>
                <a:gd name="T50" fmla="*/ 4 w 4"/>
                <a:gd name="T51" fmla="*/ 16 h 16"/>
                <a:gd name="T52" fmla="*/ 4 w 4"/>
                <a:gd name="T53" fmla="*/ 16 h 16"/>
                <a:gd name="T54" fmla="*/ 4 w 4"/>
                <a:gd name="T55" fmla="*/ 16 h 16"/>
                <a:gd name="T56" fmla="*/ 4 w 4"/>
                <a:gd name="T57" fmla="*/ 16 h 16"/>
                <a:gd name="T58" fmla="*/ 4 w 4"/>
                <a:gd name="T59" fmla="*/ 16 h 16"/>
                <a:gd name="T60" fmla="*/ 3 w 4"/>
                <a:gd name="T61" fmla="*/ 15 h 16"/>
                <a:gd name="T62" fmla="*/ 3 w 4"/>
                <a:gd name="T63" fmla="*/ 14 h 16"/>
                <a:gd name="T64" fmla="*/ 3 w 4"/>
                <a:gd name="T65" fmla="*/ 13 h 16"/>
                <a:gd name="T66" fmla="*/ 2 w 4"/>
                <a:gd name="T67" fmla="*/ 12 h 16"/>
                <a:gd name="T68" fmla="*/ 2 w 4"/>
                <a:gd name="T69" fmla="*/ 11 h 16"/>
                <a:gd name="T70" fmla="*/ 2 w 4"/>
                <a:gd name="T71" fmla="*/ 11 h 16"/>
                <a:gd name="T72" fmla="*/ 2 w 4"/>
                <a:gd name="T73" fmla="*/ 9 h 16"/>
                <a:gd name="T74" fmla="*/ 1 w 4"/>
                <a:gd name="T75" fmla="*/ 8 h 16"/>
                <a:gd name="T76" fmla="*/ 1 w 4"/>
                <a:gd name="T77" fmla="*/ 8 h 16"/>
                <a:gd name="T78" fmla="*/ 1 w 4"/>
                <a:gd name="T79" fmla="*/ 6 h 16"/>
                <a:gd name="T80" fmla="*/ 1 w 4"/>
                <a:gd name="T81" fmla="*/ 6 h 16"/>
                <a:gd name="T82" fmla="*/ 1 w 4"/>
                <a:gd name="T83" fmla="*/ 6 h 16"/>
                <a:gd name="T84" fmla="*/ 1 w 4"/>
                <a:gd name="T85" fmla="*/ 5 h 16"/>
                <a:gd name="T86" fmla="*/ 0 w 4"/>
                <a:gd name="T87" fmla="*/ 4 h 16"/>
                <a:gd name="T88" fmla="*/ 0 w 4"/>
                <a:gd name="T89" fmla="*/ 3 h 16"/>
                <a:gd name="T90" fmla="*/ 0 w 4"/>
                <a:gd name="T91" fmla="*/ 3 h 16"/>
                <a:gd name="T92" fmla="*/ 0 w 4"/>
                <a:gd name="T93" fmla="*/ 2 h 16"/>
                <a:gd name="T94" fmla="*/ 0 w 4"/>
                <a:gd name="T95" fmla="*/ 2 h 16"/>
                <a:gd name="T96" fmla="*/ 0 w 4"/>
                <a:gd name="T97" fmla="*/ 1 h 16"/>
                <a:gd name="T98" fmla="*/ 0 w 4"/>
                <a:gd name="T99" fmla="*/ 1 h 16"/>
                <a:gd name="T100" fmla="*/ 0 w 4"/>
                <a:gd name="T10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" h="16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214">
              <a:extLst>
                <a:ext uri="{FF2B5EF4-FFF2-40B4-BE49-F238E27FC236}">
                  <a16:creationId xmlns:a16="http://schemas.microsoft.com/office/drawing/2014/main" id="{010DE187-DD5F-4AE9-940B-796C54B0B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" y="1905"/>
              <a:ext cx="447" cy="272"/>
            </a:xfrm>
            <a:custGeom>
              <a:avLst/>
              <a:gdLst>
                <a:gd name="T0" fmla="*/ 32 w 35"/>
                <a:gd name="T1" fmla="*/ 22 h 23"/>
                <a:gd name="T2" fmla="*/ 32 w 35"/>
                <a:gd name="T3" fmla="*/ 23 h 23"/>
                <a:gd name="T4" fmla="*/ 31 w 35"/>
                <a:gd name="T5" fmla="*/ 23 h 23"/>
                <a:gd name="T6" fmla="*/ 31 w 35"/>
                <a:gd name="T7" fmla="*/ 23 h 23"/>
                <a:gd name="T8" fmla="*/ 31 w 35"/>
                <a:gd name="T9" fmla="*/ 22 h 23"/>
                <a:gd name="T10" fmla="*/ 32 w 35"/>
                <a:gd name="T11" fmla="*/ 17 h 23"/>
                <a:gd name="T12" fmla="*/ 34 w 35"/>
                <a:gd name="T13" fmla="*/ 8 h 23"/>
                <a:gd name="T14" fmla="*/ 34 w 35"/>
                <a:gd name="T15" fmla="*/ 6 h 23"/>
                <a:gd name="T16" fmla="*/ 34 w 35"/>
                <a:gd name="T17" fmla="*/ 5 h 23"/>
                <a:gd name="T18" fmla="*/ 33 w 35"/>
                <a:gd name="T19" fmla="*/ 4 h 23"/>
                <a:gd name="T20" fmla="*/ 31 w 35"/>
                <a:gd name="T21" fmla="*/ 3 h 23"/>
                <a:gd name="T22" fmla="*/ 27 w 35"/>
                <a:gd name="T23" fmla="*/ 1 h 23"/>
                <a:gd name="T24" fmla="*/ 23 w 35"/>
                <a:gd name="T25" fmla="*/ 1 h 23"/>
                <a:gd name="T26" fmla="*/ 14 w 35"/>
                <a:gd name="T27" fmla="*/ 1 h 23"/>
                <a:gd name="T28" fmla="*/ 8 w 35"/>
                <a:gd name="T29" fmla="*/ 1 h 23"/>
                <a:gd name="T30" fmla="*/ 2 w 35"/>
                <a:gd name="T31" fmla="*/ 4 h 23"/>
                <a:gd name="T32" fmla="*/ 1 w 35"/>
                <a:gd name="T33" fmla="*/ 5 h 23"/>
                <a:gd name="T34" fmla="*/ 0 w 35"/>
                <a:gd name="T35" fmla="*/ 6 h 23"/>
                <a:gd name="T36" fmla="*/ 0 w 35"/>
                <a:gd name="T37" fmla="*/ 7 h 23"/>
                <a:gd name="T38" fmla="*/ 0 w 35"/>
                <a:gd name="T39" fmla="*/ 7 h 23"/>
                <a:gd name="T40" fmla="*/ 0 w 35"/>
                <a:gd name="T41" fmla="*/ 8 h 23"/>
                <a:gd name="T42" fmla="*/ 0 w 35"/>
                <a:gd name="T43" fmla="*/ 8 h 23"/>
                <a:gd name="T44" fmla="*/ 0 w 35"/>
                <a:gd name="T45" fmla="*/ 8 h 23"/>
                <a:gd name="T46" fmla="*/ 0 w 35"/>
                <a:gd name="T47" fmla="*/ 8 h 23"/>
                <a:gd name="T48" fmla="*/ 0 w 35"/>
                <a:gd name="T49" fmla="*/ 7 h 23"/>
                <a:gd name="T50" fmla="*/ 0 w 35"/>
                <a:gd name="T51" fmla="*/ 7 h 23"/>
                <a:gd name="T52" fmla="*/ 0 w 35"/>
                <a:gd name="T53" fmla="*/ 6 h 23"/>
                <a:gd name="T54" fmla="*/ 1 w 35"/>
                <a:gd name="T55" fmla="*/ 4 h 23"/>
                <a:gd name="T56" fmla="*/ 2 w 35"/>
                <a:gd name="T57" fmla="*/ 3 h 23"/>
                <a:gd name="T58" fmla="*/ 4 w 35"/>
                <a:gd name="T59" fmla="*/ 2 h 23"/>
                <a:gd name="T60" fmla="*/ 8 w 35"/>
                <a:gd name="T61" fmla="*/ 1 h 23"/>
                <a:gd name="T62" fmla="*/ 14 w 35"/>
                <a:gd name="T63" fmla="*/ 0 h 23"/>
                <a:gd name="T64" fmla="*/ 23 w 35"/>
                <a:gd name="T65" fmla="*/ 0 h 23"/>
                <a:gd name="T66" fmla="*/ 27 w 35"/>
                <a:gd name="T67" fmla="*/ 1 h 23"/>
                <a:gd name="T68" fmla="*/ 32 w 35"/>
                <a:gd name="T69" fmla="*/ 2 h 23"/>
                <a:gd name="T70" fmla="*/ 34 w 35"/>
                <a:gd name="T71" fmla="*/ 4 h 23"/>
                <a:gd name="T72" fmla="*/ 35 w 35"/>
                <a:gd name="T73" fmla="*/ 5 h 23"/>
                <a:gd name="T74" fmla="*/ 35 w 35"/>
                <a:gd name="T75" fmla="*/ 6 h 23"/>
                <a:gd name="T76" fmla="*/ 35 w 35"/>
                <a:gd name="T77" fmla="*/ 8 h 23"/>
                <a:gd name="T78" fmla="*/ 34 w 35"/>
                <a:gd name="T79" fmla="*/ 12 h 23"/>
                <a:gd name="T80" fmla="*/ 33 w 35"/>
                <a:gd name="T8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" h="23">
                  <a:moveTo>
                    <a:pt x="32" y="22"/>
                  </a:moveTo>
                  <a:lnTo>
                    <a:pt x="32" y="22"/>
                  </a:lnTo>
                  <a:lnTo>
                    <a:pt x="32" y="22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17"/>
                  </a:lnTo>
                  <a:lnTo>
                    <a:pt x="33" y="12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18" y="1"/>
                  </a:lnTo>
                  <a:lnTo>
                    <a:pt x="14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2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215">
              <a:extLst>
                <a:ext uri="{FF2B5EF4-FFF2-40B4-BE49-F238E27FC236}">
                  <a16:creationId xmlns:a16="http://schemas.microsoft.com/office/drawing/2014/main" id="{B089CF55-DC4C-489A-81B8-D76B2E5D1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" y="2165"/>
              <a:ext cx="26" cy="366"/>
            </a:xfrm>
            <a:custGeom>
              <a:avLst/>
              <a:gdLst>
                <a:gd name="T0" fmla="*/ 1 w 2"/>
                <a:gd name="T1" fmla="*/ 0 h 31"/>
                <a:gd name="T2" fmla="*/ 1 w 2"/>
                <a:gd name="T3" fmla="*/ 0 h 31"/>
                <a:gd name="T4" fmla="*/ 1 w 2"/>
                <a:gd name="T5" fmla="*/ 0 h 31"/>
                <a:gd name="T6" fmla="*/ 1 w 2"/>
                <a:gd name="T7" fmla="*/ 0 h 31"/>
                <a:gd name="T8" fmla="*/ 2 w 2"/>
                <a:gd name="T9" fmla="*/ 0 h 31"/>
                <a:gd name="T10" fmla="*/ 2 w 2"/>
                <a:gd name="T11" fmla="*/ 0 h 31"/>
                <a:gd name="T12" fmla="*/ 2 w 2"/>
                <a:gd name="T13" fmla="*/ 0 h 31"/>
                <a:gd name="T14" fmla="*/ 2 w 2"/>
                <a:gd name="T15" fmla="*/ 0 h 31"/>
                <a:gd name="T16" fmla="*/ 2 w 2"/>
                <a:gd name="T17" fmla="*/ 0 h 31"/>
                <a:gd name="T18" fmla="*/ 1 w 2"/>
                <a:gd name="T19" fmla="*/ 5 h 31"/>
                <a:gd name="T20" fmla="*/ 1 w 2"/>
                <a:gd name="T21" fmla="*/ 12 h 31"/>
                <a:gd name="T22" fmla="*/ 1 w 2"/>
                <a:gd name="T23" fmla="*/ 18 h 31"/>
                <a:gd name="T24" fmla="*/ 1 w 2"/>
                <a:gd name="T25" fmla="*/ 18 h 31"/>
                <a:gd name="T26" fmla="*/ 1 w 2"/>
                <a:gd name="T27" fmla="*/ 26 h 31"/>
                <a:gd name="T28" fmla="*/ 1 w 2"/>
                <a:gd name="T29" fmla="*/ 31 h 31"/>
                <a:gd name="T30" fmla="*/ 1 w 2"/>
                <a:gd name="T31" fmla="*/ 31 h 31"/>
                <a:gd name="T32" fmla="*/ 1 w 2"/>
                <a:gd name="T33" fmla="*/ 31 h 31"/>
                <a:gd name="T34" fmla="*/ 1 w 2"/>
                <a:gd name="T35" fmla="*/ 30 h 31"/>
                <a:gd name="T36" fmla="*/ 1 w 2"/>
                <a:gd name="T37" fmla="*/ 30 h 31"/>
                <a:gd name="T38" fmla="*/ 1 w 2"/>
                <a:gd name="T39" fmla="*/ 30 h 31"/>
                <a:gd name="T40" fmla="*/ 1 w 2"/>
                <a:gd name="T41" fmla="*/ 30 h 31"/>
                <a:gd name="T42" fmla="*/ 1 w 2"/>
                <a:gd name="T43" fmla="*/ 30 h 31"/>
                <a:gd name="T44" fmla="*/ 2 w 2"/>
                <a:gd name="T45" fmla="*/ 30 h 31"/>
                <a:gd name="T46" fmla="*/ 2 w 2"/>
                <a:gd name="T47" fmla="*/ 30 h 31"/>
                <a:gd name="T48" fmla="*/ 2 w 2"/>
                <a:gd name="T49" fmla="*/ 31 h 31"/>
                <a:gd name="T50" fmla="*/ 2 w 2"/>
                <a:gd name="T51" fmla="*/ 31 h 31"/>
                <a:gd name="T52" fmla="*/ 1 w 2"/>
                <a:gd name="T53" fmla="*/ 31 h 31"/>
                <a:gd name="T54" fmla="*/ 1 w 2"/>
                <a:gd name="T55" fmla="*/ 31 h 31"/>
                <a:gd name="T56" fmla="*/ 1 w 2"/>
                <a:gd name="T57" fmla="*/ 31 h 31"/>
                <a:gd name="T58" fmla="*/ 1 w 2"/>
                <a:gd name="T59" fmla="*/ 31 h 31"/>
                <a:gd name="T60" fmla="*/ 1 w 2"/>
                <a:gd name="T61" fmla="*/ 31 h 31"/>
                <a:gd name="T62" fmla="*/ 1 w 2"/>
                <a:gd name="T63" fmla="*/ 31 h 31"/>
                <a:gd name="T64" fmla="*/ 1 w 2"/>
                <a:gd name="T65" fmla="*/ 31 h 31"/>
                <a:gd name="T66" fmla="*/ 1 w 2"/>
                <a:gd name="T67" fmla="*/ 31 h 31"/>
                <a:gd name="T68" fmla="*/ 1 w 2"/>
                <a:gd name="T69" fmla="*/ 31 h 31"/>
                <a:gd name="T70" fmla="*/ 1 w 2"/>
                <a:gd name="T71" fmla="*/ 31 h 31"/>
                <a:gd name="T72" fmla="*/ 1 w 2"/>
                <a:gd name="T73" fmla="*/ 31 h 31"/>
                <a:gd name="T74" fmla="*/ 1 w 2"/>
                <a:gd name="T75" fmla="*/ 26 h 31"/>
                <a:gd name="T76" fmla="*/ 0 w 2"/>
                <a:gd name="T77" fmla="*/ 18 h 31"/>
                <a:gd name="T78" fmla="*/ 0 w 2"/>
                <a:gd name="T79" fmla="*/ 12 h 31"/>
                <a:gd name="T80" fmla="*/ 1 w 2"/>
                <a:gd name="T81" fmla="*/ 5 h 31"/>
                <a:gd name="T82" fmla="*/ 1 w 2"/>
                <a:gd name="T8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" h="3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5"/>
                  </a:lnTo>
                  <a:lnTo>
                    <a:pt x="1" y="12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26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26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1" y="5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216">
              <a:extLst>
                <a:ext uri="{FF2B5EF4-FFF2-40B4-BE49-F238E27FC236}">
                  <a16:creationId xmlns:a16="http://schemas.microsoft.com/office/drawing/2014/main" id="{905BF5AB-E1A2-46C2-9C76-3A2B84050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" y="2531"/>
              <a:ext cx="13" cy="4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0 h 4"/>
                <a:gd name="T6" fmla="*/ 0 w 1"/>
                <a:gd name="T7" fmla="*/ 0 h 4"/>
                <a:gd name="T8" fmla="*/ 0 w 1"/>
                <a:gd name="T9" fmla="*/ 0 h 4"/>
                <a:gd name="T10" fmla="*/ 0 w 1"/>
                <a:gd name="T11" fmla="*/ 0 h 4"/>
                <a:gd name="T12" fmla="*/ 0 w 1"/>
                <a:gd name="T13" fmla="*/ 0 h 4"/>
                <a:gd name="T14" fmla="*/ 0 w 1"/>
                <a:gd name="T15" fmla="*/ 0 h 4"/>
                <a:gd name="T16" fmla="*/ 0 w 1"/>
                <a:gd name="T17" fmla="*/ 0 h 4"/>
                <a:gd name="T18" fmla="*/ 1 w 1"/>
                <a:gd name="T19" fmla="*/ 3 h 4"/>
                <a:gd name="T20" fmla="*/ 1 w 1"/>
                <a:gd name="T21" fmla="*/ 3 h 4"/>
                <a:gd name="T22" fmla="*/ 1 w 1"/>
                <a:gd name="T23" fmla="*/ 3 h 4"/>
                <a:gd name="T24" fmla="*/ 1 w 1"/>
                <a:gd name="T25" fmla="*/ 4 h 4"/>
                <a:gd name="T26" fmla="*/ 1 w 1"/>
                <a:gd name="T27" fmla="*/ 4 h 4"/>
                <a:gd name="T28" fmla="*/ 0 w 1"/>
                <a:gd name="T29" fmla="*/ 4 h 4"/>
                <a:gd name="T30" fmla="*/ 0 w 1"/>
                <a:gd name="T31" fmla="*/ 4 h 4"/>
                <a:gd name="T32" fmla="*/ 0 w 1"/>
                <a:gd name="T33" fmla="*/ 4 h 4"/>
                <a:gd name="T34" fmla="*/ 0 w 1"/>
                <a:gd name="T35" fmla="*/ 4 h 4"/>
                <a:gd name="T36" fmla="*/ 0 w 1"/>
                <a:gd name="T37" fmla="*/ 4 h 4"/>
                <a:gd name="T38" fmla="*/ 0 w 1"/>
                <a:gd name="T39" fmla="*/ 4 h 4"/>
                <a:gd name="T40" fmla="*/ 0 w 1"/>
                <a:gd name="T41" fmla="*/ 3 h 4"/>
                <a:gd name="T42" fmla="*/ 0 w 1"/>
                <a:gd name="T4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217">
              <a:extLst>
                <a:ext uri="{FF2B5EF4-FFF2-40B4-BE49-F238E27FC236}">
                  <a16:creationId xmlns:a16="http://schemas.microsoft.com/office/drawing/2014/main" id="{83887E85-50E4-4B29-8F1B-EE04424C3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165"/>
              <a:ext cx="370" cy="413"/>
            </a:xfrm>
            <a:custGeom>
              <a:avLst/>
              <a:gdLst>
                <a:gd name="T0" fmla="*/ 0 w 29"/>
                <a:gd name="T1" fmla="*/ 0 h 35"/>
                <a:gd name="T2" fmla="*/ 0 w 29"/>
                <a:gd name="T3" fmla="*/ 0 h 35"/>
                <a:gd name="T4" fmla="*/ 1 w 29"/>
                <a:gd name="T5" fmla="*/ 0 h 35"/>
                <a:gd name="T6" fmla="*/ 1 w 29"/>
                <a:gd name="T7" fmla="*/ 0 h 35"/>
                <a:gd name="T8" fmla="*/ 1 w 29"/>
                <a:gd name="T9" fmla="*/ 0 h 35"/>
                <a:gd name="T10" fmla="*/ 1 w 29"/>
                <a:gd name="T11" fmla="*/ 0 h 35"/>
                <a:gd name="T12" fmla="*/ 1 w 29"/>
                <a:gd name="T13" fmla="*/ 0 h 35"/>
                <a:gd name="T14" fmla="*/ 1 w 29"/>
                <a:gd name="T15" fmla="*/ 0 h 35"/>
                <a:gd name="T16" fmla="*/ 2 w 29"/>
                <a:gd name="T17" fmla="*/ 3 h 35"/>
                <a:gd name="T18" fmla="*/ 2 w 29"/>
                <a:gd name="T19" fmla="*/ 6 h 35"/>
                <a:gd name="T20" fmla="*/ 2 w 29"/>
                <a:gd name="T21" fmla="*/ 10 h 35"/>
                <a:gd name="T22" fmla="*/ 2 w 29"/>
                <a:gd name="T23" fmla="*/ 10 h 35"/>
                <a:gd name="T24" fmla="*/ 2 w 29"/>
                <a:gd name="T25" fmla="*/ 15 h 35"/>
                <a:gd name="T26" fmla="*/ 2 w 29"/>
                <a:gd name="T27" fmla="*/ 21 h 35"/>
                <a:gd name="T28" fmla="*/ 2 w 29"/>
                <a:gd name="T29" fmla="*/ 26 h 35"/>
                <a:gd name="T30" fmla="*/ 2 w 29"/>
                <a:gd name="T31" fmla="*/ 31 h 35"/>
                <a:gd name="T32" fmla="*/ 2 w 29"/>
                <a:gd name="T33" fmla="*/ 35 h 35"/>
                <a:gd name="T34" fmla="*/ 2 w 29"/>
                <a:gd name="T35" fmla="*/ 34 h 35"/>
                <a:gd name="T36" fmla="*/ 7 w 29"/>
                <a:gd name="T37" fmla="*/ 34 h 35"/>
                <a:gd name="T38" fmla="*/ 13 w 29"/>
                <a:gd name="T39" fmla="*/ 35 h 35"/>
                <a:gd name="T40" fmla="*/ 20 w 29"/>
                <a:gd name="T41" fmla="*/ 34 h 35"/>
                <a:gd name="T42" fmla="*/ 20 w 29"/>
                <a:gd name="T43" fmla="*/ 34 h 35"/>
                <a:gd name="T44" fmla="*/ 25 w 29"/>
                <a:gd name="T45" fmla="*/ 34 h 35"/>
                <a:gd name="T46" fmla="*/ 28 w 29"/>
                <a:gd name="T47" fmla="*/ 34 h 35"/>
                <a:gd name="T48" fmla="*/ 28 w 29"/>
                <a:gd name="T49" fmla="*/ 34 h 35"/>
                <a:gd name="T50" fmla="*/ 29 w 29"/>
                <a:gd name="T51" fmla="*/ 34 h 35"/>
                <a:gd name="T52" fmla="*/ 29 w 29"/>
                <a:gd name="T53" fmla="*/ 34 h 35"/>
                <a:gd name="T54" fmla="*/ 29 w 29"/>
                <a:gd name="T55" fmla="*/ 34 h 35"/>
                <a:gd name="T56" fmla="*/ 29 w 29"/>
                <a:gd name="T57" fmla="*/ 34 h 35"/>
                <a:gd name="T58" fmla="*/ 29 w 29"/>
                <a:gd name="T59" fmla="*/ 34 h 35"/>
                <a:gd name="T60" fmla="*/ 29 w 29"/>
                <a:gd name="T61" fmla="*/ 35 h 35"/>
                <a:gd name="T62" fmla="*/ 29 w 29"/>
                <a:gd name="T63" fmla="*/ 35 h 35"/>
                <a:gd name="T64" fmla="*/ 29 w 29"/>
                <a:gd name="T65" fmla="*/ 35 h 35"/>
                <a:gd name="T66" fmla="*/ 28 w 29"/>
                <a:gd name="T67" fmla="*/ 35 h 35"/>
                <a:gd name="T68" fmla="*/ 28 w 29"/>
                <a:gd name="T69" fmla="*/ 35 h 35"/>
                <a:gd name="T70" fmla="*/ 25 w 29"/>
                <a:gd name="T71" fmla="*/ 35 h 35"/>
                <a:gd name="T72" fmla="*/ 20 w 29"/>
                <a:gd name="T73" fmla="*/ 35 h 35"/>
                <a:gd name="T74" fmla="*/ 13 w 29"/>
                <a:gd name="T75" fmla="*/ 35 h 35"/>
                <a:gd name="T76" fmla="*/ 7 w 29"/>
                <a:gd name="T77" fmla="*/ 35 h 35"/>
                <a:gd name="T78" fmla="*/ 7 w 29"/>
                <a:gd name="T79" fmla="*/ 35 h 35"/>
                <a:gd name="T80" fmla="*/ 2 w 29"/>
                <a:gd name="T81" fmla="*/ 35 h 35"/>
                <a:gd name="T82" fmla="*/ 1 w 29"/>
                <a:gd name="T83" fmla="*/ 35 h 35"/>
                <a:gd name="T84" fmla="*/ 1 w 29"/>
                <a:gd name="T85" fmla="*/ 35 h 35"/>
                <a:gd name="T86" fmla="*/ 1 w 29"/>
                <a:gd name="T87" fmla="*/ 35 h 35"/>
                <a:gd name="T88" fmla="*/ 1 w 29"/>
                <a:gd name="T89" fmla="*/ 31 h 35"/>
                <a:gd name="T90" fmla="*/ 1 w 29"/>
                <a:gd name="T91" fmla="*/ 31 h 35"/>
                <a:gd name="T92" fmla="*/ 2 w 29"/>
                <a:gd name="T93" fmla="*/ 26 h 35"/>
                <a:gd name="T94" fmla="*/ 2 w 29"/>
                <a:gd name="T95" fmla="*/ 26 h 35"/>
                <a:gd name="T96" fmla="*/ 2 w 29"/>
                <a:gd name="T97" fmla="*/ 21 h 35"/>
                <a:gd name="T98" fmla="*/ 2 w 29"/>
                <a:gd name="T99" fmla="*/ 15 h 35"/>
                <a:gd name="T100" fmla="*/ 2 w 29"/>
                <a:gd name="T101" fmla="*/ 10 h 35"/>
                <a:gd name="T102" fmla="*/ 1 w 29"/>
                <a:gd name="T103" fmla="*/ 6 h 35"/>
                <a:gd name="T104" fmla="*/ 1 w 29"/>
                <a:gd name="T105" fmla="*/ 3 h 35"/>
                <a:gd name="T106" fmla="*/ 0 w 29"/>
                <a:gd name="T10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" h="35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5"/>
                  </a:lnTo>
                  <a:lnTo>
                    <a:pt x="2" y="21"/>
                  </a:lnTo>
                  <a:lnTo>
                    <a:pt x="2" y="26"/>
                  </a:lnTo>
                  <a:lnTo>
                    <a:pt x="2" y="31"/>
                  </a:lnTo>
                  <a:lnTo>
                    <a:pt x="2" y="35"/>
                  </a:lnTo>
                  <a:lnTo>
                    <a:pt x="2" y="34"/>
                  </a:lnTo>
                  <a:lnTo>
                    <a:pt x="7" y="34"/>
                  </a:lnTo>
                  <a:lnTo>
                    <a:pt x="13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5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5" y="35"/>
                  </a:lnTo>
                  <a:lnTo>
                    <a:pt x="20" y="35"/>
                  </a:lnTo>
                  <a:lnTo>
                    <a:pt x="13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1"/>
                  </a:lnTo>
                  <a:lnTo>
                    <a:pt x="2" y="15"/>
                  </a:lnTo>
                  <a:lnTo>
                    <a:pt x="2" y="10"/>
                  </a:lnTo>
                  <a:lnTo>
                    <a:pt x="1" y="6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218">
              <a:extLst>
                <a:ext uri="{FF2B5EF4-FFF2-40B4-BE49-F238E27FC236}">
                  <a16:creationId xmlns:a16="http://schemas.microsoft.com/office/drawing/2014/main" id="{2C48BE37-4064-4387-BAAA-8AD2F8773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" y="2566"/>
              <a:ext cx="359" cy="35"/>
            </a:xfrm>
            <a:custGeom>
              <a:avLst/>
              <a:gdLst>
                <a:gd name="T0" fmla="*/ 0 w 28"/>
                <a:gd name="T1" fmla="*/ 0 h 3"/>
                <a:gd name="T2" fmla="*/ 0 w 28"/>
                <a:gd name="T3" fmla="*/ 0 h 3"/>
                <a:gd name="T4" fmla="*/ 0 w 28"/>
                <a:gd name="T5" fmla="*/ 0 h 3"/>
                <a:gd name="T6" fmla="*/ 1 w 28"/>
                <a:gd name="T7" fmla="*/ 0 h 3"/>
                <a:gd name="T8" fmla="*/ 1 w 28"/>
                <a:gd name="T9" fmla="*/ 0 h 3"/>
                <a:gd name="T10" fmla="*/ 1 w 28"/>
                <a:gd name="T11" fmla="*/ 0 h 3"/>
                <a:gd name="T12" fmla="*/ 1 w 28"/>
                <a:gd name="T13" fmla="*/ 0 h 3"/>
                <a:gd name="T14" fmla="*/ 1 w 28"/>
                <a:gd name="T15" fmla="*/ 0 h 3"/>
                <a:gd name="T16" fmla="*/ 1 w 28"/>
                <a:gd name="T17" fmla="*/ 1 h 3"/>
                <a:gd name="T18" fmla="*/ 1 w 28"/>
                <a:gd name="T19" fmla="*/ 2 h 3"/>
                <a:gd name="T20" fmla="*/ 1 w 28"/>
                <a:gd name="T21" fmla="*/ 2 h 3"/>
                <a:gd name="T22" fmla="*/ 6 w 28"/>
                <a:gd name="T23" fmla="*/ 2 h 3"/>
                <a:gd name="T24" fmla="*/ 10 w 28"/>
                <a:gd name="T25" fmla="*/ 2 h 3"/>
                <a:gd name="T26" fmla="*/ 15 w 28"/>
                <a:gd name="T27" fmla="*/ 2 h 3"/>
                <a:gd name="T28" fmla="*/ 21 w 28"/>
                <a:gd name="T29" fmla="*/ 2 h 3"/>
                <a:gd name="T30" fmla="*/ 20 w 28"/>
                <a:gd name="T31" fmla="*/ 2 h 3"/>
                <a:gd name="T32" fmla="*/ 25 w 28"/>
                <a:gd name="T33" fmla="*/ 2 h 3"/>
                <a:gd name="T34" fmla="*/ 27 w 28"/>
                <a:gd name="T35" fmla="*/ 1 h 3"/>
                <a:gd name="T36" fmla="*/ 27 w 28"/>
                <a:gd name="T37" fmla="*/ 1 h 3"/>
                <a:gd name="T38" fmla="*/ 28 w 28"/>
                <a:gd name="T39" fmla="*/ 1 h 3"/>
                <a:gd name="T40" fmla="*/ 28 w 28"/>
                <a:gd name="T41" fmla="*/ 1 h 3"/>
                <a:gd name="T42" fmla="*/ 28 w 28"/>
                <a:gd name="T43" fmla="*/ 1 h 3"/>
                <a:gd name="T44" fmla="*/ 28 w 28"/>
                <a:gd name="T45" fmla="*/ 2 h 3"/>
                <a:gd name="T46" fmla="*/ 28 w 28"/>
                <a:gd name="T47" fmla="*/ 2 h 3"/>
                <a:gd name="T48" fmla="*/ 28 w 28"/>
                <a:gd name="T49" fmla="*/ 2 h 3"/>
                <a:gd name="T50" fmla="*/ 28 w 28"/>
                <a:gd name="T51" fmla="*/ 2 h 3"/>
                <a:gd name="T52" fmla="*/ 28 w 28"/>
                <a:gd name="T53" fmla="*/ 2 h 3"/>
                <a:gd name="T54" fmla="*/ 27 w 28"/>
                <a:gd name="T55" fmla="*/ 2 h 3"/>
                <a:gd name="T56" fmla="*/ 27 w 28"/>
                <a:gd name="T57" fmla="*/ 2 h 3"/>
                <a:gd name="T58" fmla="*/ 25 w 28"/>
                <a:gd name="T59" fmla="*/ 2 h 3"/>
                <a:gd name="T60" fmla="*/ 21 w 28"/>
                <a:gd name="T61" fmla="*/ 2 h 3"/>
                <a:gd name="T62" fmla="*/ 15 w 28"/>
                <a:gd name="T63" fmla="*/ 3 h 3"/>
                <a:gd name="T64" fmla="*/ 10 w 28"/>
                <a:gd name="T65" fmla="*/ 3 h 3"/>
                <a:gd name="T66" fmla="*/ 6 w 28"/>
                <a:gd name="T67" fmla="*/ 2 h 3"/>
                <a:gd name="T68" fmla="*/ 6 w 28"/>
                <a:gd name="T69" fmla="*/ 2 h 3"/>
                <a:gd name="T70" fmla="*/ 1 w 28"/>
                <a:gd name="T71" fmla="*/ 2 h 3"/>
                <a:gd name="T72" fmla="*/ 1 w 28"/>
                <a:gd name="T73" fmla="*/ 2 h 3"/>
                <a:gd name="T74" fmla="*/ 0 w 28"/>
                <a:gd name="T75" fmla="*/ 2 h 3"/>
                <a:gd name="T76" fmla="*/ 0 w 28"/>
                <a:gd name="T77" fmla="*/ 2 h 3"/>
                <a:gd name="T78" fmla="*/ 0 w 28"/>
                <a:gd name="T79" fmla="*/ 2 h 3"/>
                <a:gd name="T80" fmla="*/ 0 w 28"/>
                <a:gd name="T81" fmla="*/ 2 h 3"/>
                <a:gd name="T82" fmla="*/ 0 w 28"/>
                <a:gd name="T83" fmla="*/ 2 h 3"/>
                <a:gd name="T84" fmla="*/ 0 w 28"/>
                <a:gd name="T8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5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15" y="3"/>
                  </a:lnTo>
                  <a:lnTo>
                    <a:pt x="10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219">
              <a:extLst>
                <a:ext uri="{FF2B5EF4-FFF2-40B4-BE49-F238E27FC236}">
                  <a16:creationId xmlns:a16="http://schemas.microsoft.com/office/drawing/2014/main" id="{3B5EB307-131F-428A-9BE2-7A8A2145B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566"/>
              <a:ext cx="396" cy="224"/>
            </a:xfrm>
            <a:custGeom>
              <a:avLst/>
              <a:gdLst>
                <a:gd name="T0" fmla="*/ 28 w 31"/>
                <a:gd name="T1" fmla="*/ 0 h 19"/>
                <a:gd name="T2" fmla="*/ 28 w 31"/>
                <a:gd name="T3" fmla="*/ 0 h 19"/>
                <a:gd name="T4" fmla="*/ 29 w 31"/>
                <a:gd name="T5" fmla="*/ 0 h 19"/>
                <a:gd name="T6" fmla="*/ 29 w 31"/>
                <a:gd name="T7" fmla="*/ 0 h 19"/>
                <a:gd name="T8" fmla="*/ 29 w 31"/>
                <a:gd name="T9" fmla="*/ 2 h 19"/>
                <a:gd name="T10" fmla="*/ 30 w 31"/>
                <a:gd name="T11" fmla="*/ 8 h 19"/>
                <a:gd name="T12" fmla="*/ 31 w 31"/>
                <a:gd name="T13" fmla="*/ 14 h 19"/>
                <a:gd name="T14" fmla="*/ 31 w 31"/>
                <a:gd name="T15" fmla="*/ 15 h 19"/>
                <a:gd name="T16" fmla="*/ 31 w 31"/>
                <a:gd name="T17" fmla="*/ 15 h 19"/>
                <a:gd name="T18" fmla="*/ 29 w 31"/>
                <a:gd name="T19" fmla="*/ 17 h 19"/>
                <a:gd name="T20" fmla="*/ 27 w 31"/>
                <a:gd name="T21" fmla="*/ 17 h 19"/>
                <a:gd name="T22" fmla="*/ 24 w 31"/>
                <a:gd name="T23" fmla="*/ 18 h 19"/>
                <a:gd name="T24" fmla="*/ 19 w 31"/>
                <a:gd name="T25" fmla="*/ 19 h 19"/>
                <a:gd name="T26" fmla="*/ 15 w 31"/>
                <a:gd name="T27" fmla="*/ 19 h 19"/>
                <a:gd name="T28" fmla="*/ 7 w 31"/>
                <a:gd name="T29" fmla="*/ 19 h 19"/>
                <a:gd name="T30" fmla="*/ 4 w 31"/>
                <a:gd name="T31" fmla="*/ 18 h 19"/>
                <a:gd name="T32" fmla="*/ 1 w 31"/>
                <a:gd name="T33" fmla="*/ 16 h 19"/>
                <a:gd name="T34" fmla="*/ 0 w 31"/>
                <a:gd name="T35" fmla="*/ 16 h 19"/>
                <a:gd name="T36" fmla="*/ 0 w 31"/>
                <a:gd name="T37" fmla="*/ 15 h 19"/>
                <a:gd name="T38" fmla="*/ 0 w 31"/>
                <a:gd name="T39" fmla="*/ 12 h 19"/>
                <a:gd name="T40" fmla="*/ 1 w 31"/>
                <a:gd name="T41" fmla="*/ 5 h 19"/>
                <a:gd name="T42" fmla="*/ 1 w 31"/>
                <a:gd name="T43" fmla="*/ 2 h 19"/>
                <a:gd name="T44" fmla="*/ 1 w 31"/>
                <a:gd name="T45" fmla="*/ 2 h 19"/>
                <a:gd name="T46" fmla="*/ 2 w 31"/>
                <a:gd name="T47" fmla="*/ 2 h 19"/>
                <a:gd name="T48" fmla="*/ 2 w 31"/>
                <a:gd name="T49" fmla="*/ 2 h 19"/>
                <a:gd name="T50" fmla="*/ 2 w 31"/>
                <a:gd name="T51" fmla="*/ 5 h 19"/>
                <a:gd name="T52" fmla="*/ 1 w 31"/>
                <a:gd name="T53" fmla="*/ 12 h 19"/>
                <a:gd name="T54" fmla="*/ 0 w 31"/>
                <a:gd name="T55" fmla="*/ 15 h 19"/>
                <a:gd name="T56" fmla="*/ 1 w 31"/>
                <a:gd name="T57" fmla="*/ 16 h 19"/>
                <a:gd name="T58" fmla="*/ 7 w 31"/>
                <a:gd name="T59" fmla="*/ 18 h 19"/>
                <a:gd name="T60" fmla="*/ 11 w 31"/>
                <a:gd name="T61" fmla="*/ 19 h 19"/>
                <a:gd name="T62" fmla="*/ 15 w 31"/>
                <a:gd name="T63" fmla="*/ 19 h 19"/>
                <a:gd name="T64" fmla="*/ 22 w 31"/>
                <a:gd name="T65" fmla="*/ 18 h 19"/>
                <a:gd name="T66" fmla="*/ 24 w 31"/>
                <a:gd name="T67" fmla="*/ 18 h 19"/>
                <a:gd name="T68" fmla="*/ 29 w 31"/>
                <a:gd name="T69" fmla="*/ 16 h 19"/>
                <a:gd name="T70" fmla="*/ 30 w 31"/>
                <a:gd name="T71" fmla="*/ 15 h 19"/>
                <a:gd name="T72" fmla="*/ 30 w 31"/>
                <a:gd name="T73" fmla="*/ 14 h 19"/>
                <a:gd name="T74" fmla="*/ 29 w 31"/>
                <a:gd name="T75" fmla="*/ 8 h 19"/>
                <a:gd name="T76" fmla="*/ 28 w 31"/>
                <a:gd name="T7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" h="19">
                  <a:moveTo>
                    <a:pt x="28" y="0"/>
                  </a:move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5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1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1" y="5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4" y="17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1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9" y="19"/>
                  </a:lnTo>
                  <a:lnTo>
                    <a:pt x="22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17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29" y="11"/>
                  </a:lnTo>
                  <a:lnTo>
                    <a:pt x="29" y="8"/>
                  </a:lnTo>
                  <a:lnTo>
                    <a:pt x="28" y="5"/>
                  </a:lnTo>
                  <a:lnTo>
                    <a:pt x="28" y="2"/>
                  </a:lnTo>
                  <a:lnTo>
                    <a:pt x="28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220">
              <a:extLst>
                <a:ext uri="{FF2B5EF4-FFF2-40B4-BE49-F238E27FC236}">
                  <a16:creationId xmlns:a16="http://schemas.microsoft.com/office/drawing/2014/main" id="{B6E00BCB-AE6B-44E0-BDFD-E7FD776EB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082"/>
              <a:ext cx="562" cy="756"/>
            </a:xfrm>
            <a:custGeom>
              <a:avLst/>
              <a:gdLst>
                <a:gd name="T0" fmla="*/ 0 w 44"/>
                <a:gd name="T1" fmla="*/ 0 h 64"/>
                <a:gd name="T2" fmla="*/ 0 w 44"/>
                <a:gd name="T3" fmla="*/ 0 h 64"/>
                <a:gd name="T4" fmla="*/ 0 w 44"/>
                <a:gd name="T5" fmla="*/ 0 h 64"/>
                <a:gd name="T6" fmla="*/ 0 w 44"/>
                <a:gd name="T7" fmla="*/ 1 h 64"/>
                <a:gd name="T8" fmla="*/ 0 w 44"/>
                <a:gd name="T9" fmla="*/ 19 h 64"/>
                <a:gd name="T10" fmla="*/ 1 w 44"/>
                <a:gd name="T11" fmla="*/ 36 h 64"/>
                <a:gd name="T12" fmla="*/ 1 w 44"/>
                <a:gd name="T13" fmla="*/ 47 h 64"/>
                <a:gd name="T14" fmla="*/ 2 w 44"/>
                <a:gd name="T15" fmla="*/ 55 h 64"/>
                <a:gd name="T16" fmla="*/ 2 w 44"/>
                <a:gd name="T17" fmla="*/ 58 h 64"/>
                <a:gd name="T18" fmla="*/ 3 w 44"/>
                <a:gd name="T19" fmla="*/ 60 h 64"/>
                <a:gd name="T20" fmla="*/ 4 w 44"/>
                <a:gd name="T21" fmla="*/ 60 h 64"/>
                <a:gd name="T22" fmla="*/ 6 w 44"/>
                <a:gd name="T23" fmla="*/ 61 h 64"/>
                <a:gd name="T24" fmla="*/ 9 w 44"/>
                <a:gd name="T25" fmla="*/ 62 h 64"/>
                <a:gd name="T26" fmla="*/ 20 w 44"/>
                <a:gd name="T27" fmla="*/ 63 h 64"/>
                <a:gd name="T28" fmla="*/ 22 w 44"/>
                <a:gd name="T29" fmla="*/ 63 h 64"/>
                <a:gd name="T30" fmla="*/ 32 w 44"/>
                <a:gd name="T31" fmla="*/ 62 h 64"/>
                <a:gd name="T32" fmla="*/ 39 w 44"/>
                <a:gd name="T33" fmla="*/ 61 h 64"/>
                <a:gd name="T34" fmla="*/ 40 w 44"/>
                <a:gd name="T35" fmla="*/ 60 h 64"/>
                <a:gd name="T36" fmla="*/ 41 w 44"/>
                <a:gd name="T37" fmla="*/ 59 h 64"/>
                <a:gd name="T38" fmla="*/ 42 w 44"/>
                <a:gd name="T39" fmla="*/ 58 h 64"/>
                <a:gd name="T40" fmla="*/ 42 w 44"/>
                <a:gd name="T41" fmla="*/ 56 h 64"/>
                <a:gd name="T42" fmla="*/ 43 w 44"/>
                <a:gd name="T43" fmla="*/ 50 h 64"/>
                <a:gd name="T44" fmla="*/ 43 w 44"/>
                <a:gd name="T45" fmla="*/ 43 h 64"/>
                <a:gd name="T46" fmla="*/ 43 w 44"/>
                <a:gd name="T47" fmla="*/ 35 h 64"/>
                <a:gd name="T48" fmla="*/ 43 w 44"/>
                <a:gd name="T49" fmla="*/ 10 h 64"/>
                <a:gd name="T50" fmla="*/ 43 w 44"/>
                <a:gd name="T51" fmla="*/ 0 h 64"/>
                <a:gd name="T52" fmla="*/ 43 w 44"/>
                <a:gd name="T53" fmla="*/ 0 h 64"/>
                <a:gd name="T54" fmla="*/ 43 w 44"/>
                <a:gd name="T55" fmla="*/ 0 h 64"/>
                <a:gd name="T56" fmla="*/ 43 w 44"/>
                <a:gd name="T57" fmla="*/ 0 h 64"/>
                <a:gd name="T58" fmla="*/ 43 w 44"/>
                <a:gd name="T59" fmla="*/ 3 h 64"/>
                <a:gd name="T60" fmla="*/ 44 w 44"/>
                <a:gd name="T61" fmla="*/ 25 h 64"/>
                <a:gd name="T62" fmla="*/ 44 w 44"/>
                <a:gd name="T63" fmla="*/ 35 h 64"/>
                <a:gd name="T64" fmla="*/ 44 w 44"/>
                <a:gd name="T65" fmla="*/ 43 h 64"/>
                <a:gd name="T66" fmla="*/ 44 w 44"/>
                <a:gd name="T67" fmla="*/ 54 h 64"/>
                <a:gd name="T68" fmla="*/ 43 w 44"/>
                <a:gd name="T69" fmla="*/ 57 h 64"/>
                <a:gd name="T70" fmla="*/ 42 w 44"/>
                <a:gd name="T71" fmla="*/ 58 h 64"/>
                <a:gd name="T72" fmla="*/ 42 w 44"/>
                <a:gd name="T73" fmla="*/ 60 h 64"/>
                <a:gd name="T74" fmla="*/ 40 w 44"/>
                <a:gd name="T75" fmla="*/ 61 h 64"/>
                <a:gd name="T76" fmla="*/ 36 w 44"/>
                <a:gd name="T77" fmla="*/ 62 h 64"/>
                <a:gd name="T78" fmla="*/ 32 w 44"/>
                <a:gd name="T79" fmla="*/ 63 h 64"/>
                <a:gd name="T80" fmla="*/ 22 w 44"/>
                <a:gd name="T81" fmla="*/ 64 h 64"/>
                <a:gd name="T82" fmla="*/ 12 w 44"/>
                <a:gd name="T83" fmla="*/ 63 h 64"/>
                <a:gd name="T84" fmla="*/ 6 w 44"/>
                <a:gd name="T85" fmla="*/ 62 h 64"/>
                <a:gd name="T86" fmla="*/ 4 w 44"/>
                <a:gd name="T87" fmla="*/ 61 h 64"/>
                <a:gd name="T88" fmla="*/ 3 w 44"/>
                <a:gd name="T89" fmla="*/ 60 h 64"/>
                <a:gd name="T90" fmla="*/ 2 w 44"/>
                <a:gd name="T91" fmla="*/ 58 h 64"/>
                <a:gd name="T92" fmla="*/ 1 w 44"/>
                <a:gd name="T93" fmla="*/ 55 h 64"/>
                <a:gd name="T94" fmla="*/ 0 w 44"/>
                <a:gd name="T95" fmla="*/ 47 h 64"/>
                <a:gd name="T96" fmla="*/ 0 w 44"/>
                <a:gd name="T97" fmla="*/ 27 h 64"/>
                <a:gd name="T98" fmla="*/ 0 w 44"/>
                <a:gd name="T9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" h="64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9"/>
                  </a:lnTo>
                  <a:lnTo>
                    <a:pt x="0" y="19"/>
                  </a:lnTo>
                  <a:lnTo>
                    <a:pt x="1" y="27"/>
                  </a:lnTo>
                  <a:lnTo>
                    <a:pt x="1" y="36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52"/>
                  </a:lnTo>
                  <a:lnTo>
                    <a:pt x="2" y="55"/>
                  </a:lnTo>
                  <a:lnTo>
                    <a:pt x="1" y="55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3" y="60"/>
                  </a:lnTo>
                  <a:lnTo>
                    <a:pt x="3" y="59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6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2" y="62"/>
                  </a:lnTo>
                  <a:lnTo>
                    <a:pt x="20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8" y="63"/>
                  </a:lnTo>
                  <a:lnTo>
                    <a:pt x="32" y="62"/>
                  </a:lnTo>
                  <a:lnTo>
                    <a:pt x="36" y="62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6"/>
                  </a:lnTo>
                  <a:lnTo>
                    <a:pt x="43" y="54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43"/>
                  </a:lnTo>
                  <a:lnTo>
                    <a:pt x="43" y="39"/>
                  </a:lnTo>
                  <a:lnTo>
                    <a:pt x="43" y="35"/>
                  </a:lnTo>
                  <a:lnTo>
                    <a:pt x="43" y="25"/>
                  </a:lnTo>
                  <a:lnTo>
                    <a:pt x="43" y="1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3"/>
                  </a:lnTo>
                  <a:lnTo>
                    <a:pt x="44" y="10"/>
                  </a:lnTo>
                  <a:lnTo>
                    <a:pt x="44" y="2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4" y="50"/>
                  </a:lnTo>
                  <a:lnTo>
                    <a:pt x="44" y="54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2" y="63"/>
                  </a:lnTo>
                  <a:lnTo>
                    <a:pt x="28" y="63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2" y="63"/>
                  </a:lnTo>
                  <a:lnTo>
                    <a:pt x="9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1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0" y="52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221">
              <a:extLst>
                <a:ext uri="{FF2B5EF4-FFF2-40B4-BE49-F238E27FC236}">
                  <a16:creationId xmlns:a16="http://schemas.microsoft.com/office/drawing/2014/main" id="{70D0EC2B-490A-43E8-9483-DDE46A730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43"/>
              <a:ext cx="396" cy="83"/>
            </a:xfrm>
            <a:custGeom>
              <a:avLst/>
              <a:gdLst>
                <a:gd name="T0" fmla="*/ 0 w 31"/>
                <a:gd name="T1" fmla="*/ 1 h 7"/>
                <a:gd name="T2" fmla="*/ 0 w 31"/>
                <a:gd name="T3" fmla="*/ 0 h 7"/>
                <a:gd name="T4" fmla="*/ 0 w 31"/>
                <a:gd name="T5" fmla="*/ 0 h 7"/>
                <a:gd name="T6" fmla="*/ 0 w 31"/>
                <a:gd name="T7" fmla="*/ 0 h 7"/>
                <a:gd name="T8" fmla="*/ 0 w 31"/>
                <a:gd name="T9" fmla="*/ 0 h 7"/>
                <a:gd name="T10" fmla="*/ 0 w 31"/>
                <a:gd name="T11" fmla="*/ 0 h 7"/>
                <a:gd name="T12" fmla="*/ 0 w 31"/>
                <a:gd name="T13" fmla="*/ 0 h 7"/>
                <a:gd name="T14" fmla="*/ 0 w 31"/>
                <a:gd name="T15" fmla="*/ 1 h 7"/>
                <a:gd name="T16" fmla="*/ 0 w 31"/>
                <a:gd name="T17" fmla="*/ 3 h 7"/>
                <a:gd name="T18" fmla="*/ 0 w 31"/>
                <a:gd name="T19" fmla="*/ 3 h 7"/>
                <a:gd name="T20" fmla="*/ 1 w 31"/>
                <a:gd name="T21" fmla="*/ 4 h 7"/>
                <a:gd name="T22" fmla="*/ 0 w 31"/>
                <a:gd name="T23" fmla="*/ 4 h 7"/>
                <a:gd name="T24" fmla="*/ 3 w 31"/>
                <a:gd name="T25" fmla="*/ 5 h 7"/>
                <a:gd name="T26" fmla="*/ 3 w 31"/>
                <a:gd name="T27" fmla="*/ 5 h 7"/>
                <a:gd name="T28" fmla="*/ 5 w 31"/>
                <a:gd name="T29" fmla="*/ 5 h 7"/>
                <a:gd name="T30" fmla="*/ 9 w 31"/>
                <a:gd name="T31" fmla="*/ 6 h 7"/>
                <a:gd name="T32" fmla="*/ 12 w 31"/>
                <a:gd name="T33" fmla="*/ 6 h 7"/>
                <a:gd name="T34" fmla="*/ 19 w 31"/>
                <a:gd name="T35" fmla="*/ 6 h 7"/>
                <a:gd name="T36" fmla="*/ 19 w 31"/>
                <a:gd name="T37" fmla="*/ 6 h 7"/>
                <a:gd name="T38" fmla="*/ 23 w 31"/>
                <a:gd name="T39" fmla="*/ 5 h 7"/>
                <a:gd name="T40" fmla="*/ 27 w 31"/>
                <a:gd name="T41" fmla="*/ 5 h 7"/>
                <a:gd name="T42" fmla="*/ 29 w 31"/>
                <a:gd name="T43" fmla="*/ 4 h 7"/>
                <a:gd name="T44" fmla="*/ 30 w 31"/>
                <a:gd name="T45" fmla="*/ 4 h 7"/>
                <a:gd name="T46" fmla="*/ 30 w 31"/>
                <a:gd name="T47" fmla="*/ 4 h 7"/>
                <a:gd name="T48" fmla="*/ 30 w 31"/>
                <a:gd name="T49" fmla="*/ 4 h 7"/>
                <a:gd name="T50" fmla="*/ 30 w 31"/>
                <a:gd name="T51" fmla="*/ 4 h 7"/>
                <a:gd name="T52" fmla="*/ 30 w 31"/>
                <a:gd name="T53" fmla="*/ 0 h 7"/>
                <a:gd name="T54" fmla="*/ 30 w 31"/>
                <a:gd name="T55" fmla="*/ 0 h 7"/>
                <a:gd name="T56" fmla="*/ 31 w 31"/>
                <a:gd name="T57" fmla="*/ 0 h 7"/>
                <a:gd name="T58" fmla="*/ 31 w 31"/>
                <a:gd name="T59" fmla="*/ 0 h 7"/>
                <a:gd name="T60" fmla="*/ 31 w 31"/>
                <a:gd name="T61" fmla="*/ 0 h 7"/>
                <a:gd name="T62" fmla="*/ 31 w 31"/>
                <a:gd name="T63" fmla="*/ 0 h 7"/>
                <a:gd name="T64" fmla="*/ 31 w 31"/>
                <a:gd name="T65" fmla="*/ 0 h 7"/>
                <a:gd name="T66" fmla="*/ 31 w 31"/>
                <a:gd name="T67" fmla="*/ 4 h 7"/>
                <a:gd name="T68" fmla="*/ 31 w 31"/>
                <a:gd name="T69" fmla="*/ 5 h 7"/>
                <a:gd name="T70" fmla="*/ 31 w 31"/>
                <a:gd name="T71" fmla="*/ 5 h 7"/>
                <a:gd name="T72" fmla="*/ 31 w 31"/>
                <a:gd name="T73" fmla="*/ 5 h 7"/>
                <a:gd name="T74" fmla="*/ 31 w 31"/>
                <a:gd name="T75" fmla="*/ 5 h 7"/>
                <a:gd name="T76" fmla="*/ 31 w 31"/>
                <a:gd name="T77" fmla="*/ 5 h 7"/>
                <a:gd name="T78" fmla="*/ 30 w 31"/>
                <a:gd name="T79" fmla="*/ 5 h 7"/>
                <a:gd name="T80" fmla="*/ 30 w 31"/>
                <a:gd name="T81" fmla="*/ 5 h 7"/>
                <a:gd name="T82" fmla="*/ 29 w 31"/>
                <a:gd name="T83" fmla="*/ 5 h 7"/>
                <a:gd name="T84" fmla="*/ 27 w 31"/>
                <a:gd name="T85" fmla="*/ 5 h 7"/>
                <a:gd name="T86" fmla="*/ 23 w 31"/>
                <a:gd name="T87" fmla="*/ 6 h 7"/>
                <a:gd name="T88" fmla="*/ 19 w 31"/>
                <a:gd name="T89" fmla="*/ 7 h 7"/>
                <a:gd name="T90" fmla="*/ 12 w 31"/>
                <a:gd name="T91" fmla="*/ 7 h 7"/>
                <a:gd name="T92" fmla="*/ 12 w 31"/>
                <a:gd name="T93" fmla="*/ 7 h 7"/>
                <a:gd name="T94" fmla="*/ 8 w 31"/>
                <a:gd name="T95" fmla="*/ 6 h 7"/>
                <a:gd name="T96" fmla="*/ 5 w 31"/>
                <a:gd name="T97" fmla="*/ 6 h 7"/>
                <a:gd name="T98" fmla="*/ 3 w 31"/>
                <a:gd name="T99" fmla="*/ 6 h 7"/>
                <a:gd name="T100" fmla="*/ 2 w 31"/>
                <a:gd name="T101" fmla="*/ 6 h 7"/>
                <a:gd name="T102" fmla="*/ 0 w 31"/>
                <a:gd name="T103" fmla="*/ 5 h 7"/>
                <a:gd name="T104" fmla="*/ 0 w 31"/>
                <a:gd name="T105" fmla="*/ 5 h 7"/>
                <a:gd name="T106" fmla="*/ 0 w 31"/>
                <a:gd name="T107" fmla="*/ 5 h 7"/>
                <a:gd name="T108" fmla="*/ 0 w 31"/>
                <a:gd name="T109" fmla="*/ 5 h 7"/>
                <a:gd name="T110" fmla="*/ 0 w 31"/>
                <a:gd name="T111" fmla="*/ 3 h 7"/>
                <a:gd name="T112" fmla="*/ 0 w 31"/>
                <a:gd name="T1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" h="7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3" y="6"/>
                  </a:lnTo>
                  <a:lnTo>
                    <a:pt x="19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8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222">
              <a:extLst>
                <a:ext uri="{FF2B5EF4-FFF2-40B4-BE49-F238E27FC236}">
                  <a16:creationId xmlns:a16="http://schemas.microsoft.com/office/drawing/2014/main" id="{3BC105C4-CCE2-406B-94B5-FDDCC3453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4" y="2802"/>
              <a:ext cx="167" cy="36"/>
            </a:xfrm>
            <a:custGeom>
              <a:avLst/>
              <a:gdLst>
                <a:gd name="T0" fmla="*/ 0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0 w 13"/>
                <a:gd name="T9" fmla="*/ 0 h 3"/>
                <a:gd name="T10" fmla="*/ 0 w 13"/>
                <a:gd name="T11" fmla="*/ 0 h 3"/>
                <a:gd name="T12" fmla="*/ 0 w 13"/>
                <a:gd name="T13" fmla="*/ 0 h 3"/>
                <a:gd name="T14" fmla="*/ 1 w 13"/>
                <a:gd name="T15" fmla="*/ 0 h 3"/>
                <a:gd name="T16" fmla="*/ 1 w 13"/>
                <a:gd name="T17" fmla="*/ 0 h 3"/>
                <a:gd name="T18" fmla="*/ 1 w 13"/>
                <a:gd name="T19" fmla="*/ 1 h 3"/>
                <a:gd name="T20" fmla="*/ 1 w 13"/>
                <a:gd name="T21" fmla="*/ 0 h 3"/>
                <a:gd name="T22" fmla="*/ 2 w 13"/>
                <a:gd name="T23" fmla="*/ 1 h 3"/>
                <a:gd name="T24" fmla="*/ 3 w 13"/>
                <a:gd name="T25" fmla="*/ 1 h 3"/>
                <a:gd name="T26" fmla="*/ 6 w 13"/>
                <a:gd name="T27" fmla="*/ 1 h 3"/>
                <a:gd name="T28" fmla="*/ 8 w 13"/>
                <a:gd name="T29" fmla="*/ 1 h 3"/>
                <a:gd name="T30" fmla="*/ 9 w 13"/>
                <a:gd name="T31" fmla="*/ 1 h 3"/>
                <a:gd name="T32" fmla="*/ 12 w 13"/>
                <a:gd name="T33" fmla="*/ 1 h 3"/>
                <a:gd name="T34" fmla="*/ 12 w 13"/>
                <a:gd name="T35" fmla="*/ 1 h 3"/>
                <a:gd name="T36" fmla="*/ 12 w 13"/>
                <a:gd name="T37" fmla="*/ 2 h 3"/>
                <a:gd name="T38" fmla="*/ 12 w 13"/>
                <a:gd name="T39" fmla="*/ 1 h 3"/>
                <a:gd name="T40" fmla="*/ 12 w 13"/>
                <a:gd name="T41" fmla="*/ 2 h 3"/>
                <a:gd name="T42" fmla="*/ 12 w 13"/>
                <a:gd name="T43" fmla="*/ 2 h 3"/>
                <a:gd name="T44" fmla="*/ 12 w 13"/>
                <a:gd name="T45" fmla="*/ 2 h 3"/>
                <a:gd name="T46" fmla="*/ 13 w 13"/>
                <a:gd name="T47" fmla="*/ 2 h 3"/>
                <a:gd name="T48" fmla="*/ 13 w 13"/>
                <a:gd name="T49" fmla="*/ 2 h 3"/>
                <a:gd name="T50" fmla="*/ 13 w 13"/>
                <a:gd name="T51" fmla="*/ 2 h 3"/>
                <a:gd name="T52" fmla="*/ 13 w 13"/>
                <a:gd name="T53" fmla="*/ 2 h 3"/>
                <a:gd name="T54" fmla="*/ 13 w 13"/>
                <a:gd name="T55" fmla="*/ 2 h 3"/>
                <a:gd name="T56" fmla="*/ 12 w 13"/>
                <a:gd name="T57" fmla="*/ 2 h 3"/>
                <a:gd name="T58" fmla="*/ 12 w 13"/>
                <a:gd name="T59" fmla="*/ 2 h 3"/>
                <a:gd name="T60" fmla="*/ 12 w 13"/>
                <a:gd name="T61" fmla="*/ 3 h 3"/>
                <a:gd name="T62" fmla="*/ 12 w 13"/>
                <a:gd name="T63" fmla="*/ 3 h 3"/>
                <a:gd name="T64" fmla="*/ 12 w 13"/>
                <a:gd name="T65" fmla="*/ 2 h 3"/>
                <a:gd name="T66" fmla="*/ 12 w 13"/>
                <a:gd name="T67" fmla="*/ 2 h 3"/>
                <a:gd name="T68" fmla="*/ 12 w 13"/>
                <a:gd name="T69" fmla="*/ 2 h 3"/>
                <a:gd name="T70" fmla="*/ 12 w 13"/>
                <a:gd name="T71" fmla="*/ 2 h 3"/>
                <a:gd name="T72" fmla="*/ 12 w 13"/>
                <a:gd name="T73" fmla="*/ 2 h 3"/>
                <a:gd name="T74" fmla="*/ 12 w 13"/>
                <a:gd name="T75" fmla="*/ 2 h 3"/>
                <a:gd name="T76" fmla="*/ 12 w 13"/>
                <a:gd name="T77" fmla="*/ 2 h 3"/>
                <a:gd name="T78" fmla="*/ 12 w 13"/>
                <a:gd name="T79" fmla="*/ 2 h 3"/>
                <a:gd name="T80" fmla="*/ 12 w 13"/>
                <a:gd name="T81" fmla="*/ 2 h 3"/>
                <a:gd name="T82" fmla="*/ 12 w 13"/>
                <a:gd name="T83" fmla="*/ 2 h 3"/>
                <a:gd name="T84" fmla="*/ 9 w 13"/>
                <a:gd name="T85" fmla="*/ 2 h 3"/>
                <a:gd name="T86" fmla="*/ 8 w 13"/>
                <a:gd name="T87" fmla="*/ 2 h 3"/>
                <a:gd name="T88" fmla="*/ 5 w 13"/>
                <a:gd name="T89" fmla="*/ 2 h 3"/>
                <a:gd name="T90" fmla="*/ 3 w 13"/>
                <a:gd name="T91" fmla="*/ 2 h 3"/>
                <a:gd name="T92" fmla="*/ 2 w 13"/>
                <a:gd name="T93" fmla="*/ 1 h 3"/>
                <a:gd name="T94" fmla="*/ 1 w 13"/>
                <a:gd name="T95" fmla="*/ 1 h 3"/>
                <a:gd name="T96" fmla="*/ 1 w 13"/>
                <a:gd name="T97" fmla="*/ 1 h 3"/>
                <a:gd name="T98" fmla="*/ 1 w 13"/>
                <a:gd name="T99" fmla="*/ 1 h 3"/>
                <a:gd name="T100" fmla="*/ 0 w 13"/>
                <a:gd name="T101" fmla="*/ 1 h 3"/>
                <a:gd name="T102" fmla="*/ 0 w 13"/>
                <a:gd name="T103" fmla="*/ 1 h 3"/>
                <a:gd name="T104" fmla="*/ 0 w 13"/>
                <a:gd name="T10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9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23">
              <a:extLst>
                <a:ext uri="{FF2B5EF4-FFF2-40B4-BE49-F238E27FC236}">
                  <a16:creationId xmlns:a16="http://schemas.microsoft.com/office/drawing/2014/main" id="{D0CC9DB3-6A94-4524-96F1-7B54DA23B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" y="2802"/>
              <a:ext cx="167" cy="36"/>
            </a:xfrm>
            <a:custGeom>
              <a:avLst/>
              <a:gdLst>
                <a:gd name="T0" fmla="*/ 12 w 13"/>
                <a:gd name="T1" fmla="*/ 0 h 3"/>
                <a:gd name="T2" fmla="*/ 12 w 13"/>
                <a:gd name="T3" fmla="*/ 0 h 3"/>
                <a:gd name="T4" fmla="*/ 12 w 13"/>
                <a:gd name="T5" fmla="*/ 0 h 3"/>
                <a:gd name="T6" fmla="*/ 12 w 13"/>
                <a:gd name="T7" fmla="*/ 0 h 3"/>
                <a:gd name="T8" fmla="*/ 12 w 13"/>
                <a:gd name="T9" fmla="*/ 0 h 3"/>
                <a:gd name="T10" fmla="*/ 13 w 13"/>
                <a:gd name="T11" fmla="*/ 0 h 3"/>
                <a:gd name="T12" fmla="*/ 13 w 13"/>
                <a:gd name="T13" fmla="*/ 0 h 3"/>
                <a:gd name="T14" fmla="*/ 13 w 13"/>
                <a:gd name="T15" fmla="*/ 0 h 3"/>
                <a:gd name="T16" fmla="*/ 13 w 13"/>
                <a:gd name="T17" fmla="*/ 0 h 3"/>
                <a:gd name="T18" fmla="*/ 13 w 13"/>
                <a:gd name="T19" fmla="*/ 0 h 3"/>
                <a:gd name="T20" fmla="*/ 12 w 13"/>
                <a:gd name="T21" fmla="*/ 0 h 3"/>
                <a:gd name="T22" fmla="*/ 12 w 13"/>
                <a:gd name="T23" fmla="*/ 1 h 3"/>
                <a:gd name="T24" fmla="*/ 12 w 13"/>
                <a:gd name="T25" fmla="*/ 1 h 3"/>
                <a:gd name="T26" fmla="*/ 12 w 13"/>
                <a:gd name="T27" fmla="*/ 1 h 3"/>
                <a:gd name="T28" fmla="*/ 12 w 13"/>
                <a:gd name="T29" fmla="*/ 1 h 3"/>
                <a:gd name="T30" fmla="*/ 12 w 13"/>
                <a:gd name="T31" fmla="*/ 1 h 3"/>
                <a:gd name="T32" fmla="*/ 11 w 13"/>
                <a:gd name="T33" fmla="*/ 1 h 3"/>
                <a:gd name="T34" fmla="*/ 11 w 13"/>
                <a:gd name="T35" fmla="*/ 1 h 3"/>
                <a:gd name="T36" fmla="*/ 9 w 13"/>
                <a:gd name="T37" fmla="*/ 1 h 3"/>
                <a:gd name="T38" fmla="*/ 7 w 13"/>
                <a:gd name="T39" fmla="*/ 2 h 3"/>
                <a:gd name="T40" fmla="*/ 4 w 13"/>
                <a:gd name="T41" fmla="*/ 2 h 3"/>
                <a:gd name="T42" fmla="*/ 2 w 13"/>
                <a:gd name="T43" fmla="*/ 2 h 3"/>
                <a:gd name="T44" fmla="*/ 2 w 13"/>
                <a:gd name="T45" fmla="*/ 2 h 3"/>
                <a:gd name="T46" fmla="*/ 1 w 13"/>
                <a:gd name="T47" fmla="*/ 2 h 3"/>
                <a:gd name="T48" fmla="*/ 1 w 13"/>
                <a:gd name="T49" fmla="*/ 2 h 3"/>
                <a:gd name="T50" fmla="*/ 1 w 13"/>
                <a:gd name="T51" fmla="*/ 2 h 3"/>
                <a:gd name="T52" fmla="*/ 1 w 13"/>
                <a:gd name="T53" fmla="*/ 2 h 3"/>
                <a:gd name="T54" fmla="*/ 1 w 13"/>
                <a:gd name="T55" fmla="*/ 2 h 3"/>
                <a:gd name="T56" fmla="*/ 1 w 13"/>
                <a:gd name="T57" fmla="*/ 2 h 3"/>
                <a:gd name="T58" fmla="*/ 1 w 13"/>
                <a:gd name="T59" fmla="*/ 2 h 3"/>
                <a:gd name="T60" fmla="*/ 1 w 13"/>
                <a:gd name="T61" fmla="*/ 3 h 3"/>
                <a:gd name="T62" fmla="*/ 0 w 13"/>
                <a:gd name="T63" fmla="*/ 3 h 3"/>
                <a:gd name="T64" fmla="*/ 0 w 13"/>
                <a:gd name="T65" fmla="*/ 2 h 3"/>
                <a:gd name="T66" fmla="*/ 0 w 13"/>
                <a:gd name="T67" fmla="*/ 2 h 3"/>
                <a:gd name="T68" fmla="*/ 0 w 13"/>
                <a:gd name="T69" fmla="*/ 2 h 3"/>
                <a:gd name="T70" fmla="*/ 0 w 13"/>
                <a:gd name="T71" fmla="*/ 2 h 3"/>
                <a:gd name="T72" fmla="*/ 0 w 13"/>
                <a:gd name="T73" fmla="*/ 2 h 3"/>
                <a:gd name="T74" fmla="*/ 0 w 13"/>
                <a:gd name="T75" fmla="*/ 2 h 3"/>
                <a:gd name="T76" fmla="*/ 0 w 13"/>
                <a:gd name="T77" fmla="*/ 2 h 3"/>
                <a:gd name="T78" fmla="*/ 0 w 13"/>
                <a:gd name="T79" fmla="*/ 2 h 3"/>
                <a:gd name="T80" fmla="*/ 0 w 13"/>
                <a:gd name="T81" fmla="*/ 2 h 3"/>
                <a:gd name="T82" fmla="*/ 1 w 13"/>
                <a:gd name="T83" fmla="*/ 1 h 3"/>
                <a:gd name="T84" fmla="*/ 1 w 13"/>
                <a:gd name="T85" fmla="*/ 1 h 3"/>
                <a:gd name="T86" fmla="*/ 1 w 13"/>
                <a:gd name="T87" fmla="*/ 1 h 3"/>
                <a:gd name="T88" fmla="*/ 2 w 13"/>
                <a:gd name="T89" fmla="*/ 1 h 3"/>
                <a:gd name="T90" fmla="*/ 4 w 13"/>
                <a:gd name="T91" fmla="*/ 1 h 3"/>
                <a:gd name="T92" fmla="*/ 4 w 13"/>
                <a:gd name="T93" fmla="*/ 1 h 3"/>
                <a:gd name="T94" fmla="*/ 7 w 13"/>
                <a:gd name="T95" fmla="*/ 1 h 3"/>
                <a:gd name="T96" fmla="*/ 9 w 13"/>
                <a:gd name="T97" fmla="*/ 1 h 3"/>
                <a:gd name="T98" fmla="*/ 11 w 13"/>
                <a:gd name="T99" fmla="*/ 0 h 3"/>
                <a:gd name="T100" fmla="*/ 12 w 13"/>
                <a:gd name="T101" fmla="*/ 0 h 3"/>
                <a:gd name="T102" fmla="*/ 12 w 13"/>
                <a:gd name="T103" fmla="*/ 0 h 3"/>
                <a:gd name="T104" fmla="*/ 12 w 13"/>
                <a:gd name="T105" fmla="*/ 0 h 3"/>
                <a:gd name="T106" fmla="*/ 12 w 13"/>
                <a:gd name="T107" fmla="*/ 0 h 3"/>
                <a:gd name="T108" fmla="*/ 12 w 13"/>
                <a:gd name="T10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" h="3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224">
              <a:extLst>
                <a:ext uri="{FF2B5EF4-FFF2-40B4-BE49-F238E27FC236}">
                  <a16:creationId xmlns:a16="http://schemas.microsoft.com/office/drawing/2014/main" id="{B951F1F7-B2D8-4194-BDF2-C8A563826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495"/>
              <a:ext cx="38" cy="260"/>
            </a:xfrm>
            <a:custGeom>
              <a:avLst/>
              <a:gdLst>
                <a:gd name="T0" fmla="*/ 0 w 3"/>
                <a:gd name="T1" fmla="*/ 1 h 22"/>
                <a:gd name="T2" fmla="*/ 0 w 3"/>
                <a:gd name="T3" fmla="*/ 0 h 22"/>
                <a:gd name="T4" fmla="*/ 0 w 3"/>
                <a:gd name="T5" fmla="*/ 0 h 22"/>
                <a:gd name="T6" fmla="*/ 0 w 3"/>
                <a:gd name="T7" fmla="*/ 0 h 22"/>
                <a:gd name="T8" fmla="*/ 0 w 3"/>
                <a:gd name="T9" fmla="*/ 0 h 22"/>
                <a:gd name="T10" fmla="*/ 1 w 3"/>
                <a:gd name="T11" fmla="*/ 0 h 22"/>
                <a:gd name="T12" fmla="*/ 1 w 3"/>
                <a:gd name="T13" fmla="*/ 0 h 22"/>
                <a:gd name="T14" fmla="*/ 1 w 3"/>
                <a:gd name="T15" fmla="*/ 0 h 22"/>
                <a:gd name="T16" fmla="*/ 1 w 3"/>
                <a:gd name="T17" fmla="*/ 0 h 22"/>
                <a:gd name="T18" fmla="*/ 1 w 3"/>
                <a:gd name="T19" fmla="*/ 7 h 22"/>
                <a:gd name="T20" fmla="*/ 1 w 3"/>
                <a:gd name="T21" fmla="*/ 12 h 22"/>
                <a:gd name="T22" fmla="*/ 2 w 3"/>
                <a:gd name="T23" fmla="*/ 16 h 22"/>
                <a:gd name="T24" fmla="*/ 2 w 3"/>
                <a:gd name="T25" fmla="*/ 19 h 22"/>
                <a:gd name="T26" fmla="*/ 2 w 3"/>
                <a:gd name="T27" fmla="*/ 21 h 22"/>
                <a:gd name="T28" fmla="*/ 2 w 3"/>
                <a:gd name="T29" fmla="*/ 21 h 22"/>
                <a:gd name="T30" fmla="*/ 3 w 3"/>
                <a:gd name="T31" fmla="*/ 22 h 22"/>
                <a:gd name="T32" fmla="*/ 3 w 3"/>
                <a:gd name="T33" fmla="*/ 22 h 22"/>
                <a:gd name="T34" fmla="*/ 3 w 3"/>
                <a:gd name="T35" fmla="*/ 22 h 22"/>
                <a:gd name="T36" fmla="*/ 3 w 3"/>
                <a:gd name="T37" fmla="*/ 22 h 22"/>
                <a:gd name="T38" fmla="*/ 3 w 3"/>
                <a:gd name="T39" fmla="*/ 22 h 22"/>
                <a:gd name="T40" fmla="*/ 2 w 3"/>
                <a:gd name="T41" fmla="*/ 22 h 22"/>
                <a:gd name="T42" fmla="*/ 2 w 3"/>
                <a:gd name="T43" fmla="*/ 22 h 22"/>
                <a:gd name="T44" fmla="*/ 2 w 3"/>
                <a:gd name="T45" fmla="*/ 22 h 22"/>
                <a:gd name="T46" fmla="*/ 2 w 3"/>
                <a:gd name="T47" fmla="*/ 22 h 22"/>
                <a:gd name="T48" fmla="*/ 2 w 3"/>
                <a:gd name="T49" fmla="*/ 22 h 22"/>
                <a:gd name="T50" fmla="*/ 2 w 3"/>
                <a:gd name="T51" fmla="*/ 22 h 22"/>
                <a:gd name="T52" fmla="*/ 2 w 3"/>
                <a:gd name="T53" fmla="*/ 21 h 22"/>
                <a:gd name="T54" fmla="*/ 2 w 3"/>
                <a:gd name="T55" fmla="*/ 21 h 22"/>
                <a:gd name="T56" fmla="*/ 1 w 3"/>
                <a:gd name="T57" fmla="*/ 19 h 22"/>
                <a:gd name="T58" fmla="*/ 1 w 3"/>
                <a:gd name="T59" fmla="*/ 16 h 22"/>
                <a:gd name="T60" fmla="*/ 1 w 3"/>
                <a:gd name="T61" fmla="*/ 12 h 22"/>
                <a:gd name="T62" fmla="*/ 0 w 3"/>
                <a:gd name="T63" fmla="*/ 7 h 22"/>
                <a:gd name="T64" fmla="*/ 0 w 3"/>
                <a:gd name="T6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" h="22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7"/>
                  </a:lnTo>
                  <a:lnTo>
                    <a:pt x="1" y="12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1" y="19"/>
                  </a:lnTo>
                  <a:lnTo>
                    <a:pt x="1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25">
              <a:extLst>
                <a:ext uri="{FF2B5EF4-FFF2-40B4-BE49-F238E27FC236}">
                  <a16:creationId xmlns:a16="http://schemas.microsoft.com/office/drawing/2014/main" id="{E64F0BE8-7BAC-483A-9C23-8326DC4A3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082"/>
              <a:ext cx="51" cy="685"/>
            </a:xfrm>
            <a:custGeom>
              <a:avLst/>
              <a:gdLst>
                <a:gd name="T0" fmla="*/ 0 w 4"/>
                <a:gd name="T1" fmla="*/ 0 h 58"/>
                <a:gd name="T2" fmla="*/ 0 w 4"/>
                <a:gd name="T3" fmla="*/ 0 h 58"/>
                <a:gd name="T4" fmla="*/ 1 w 4"/>
                <a:gd name="T5" fmla="*/ 0 h 58"/>
                <a:gd name="T6" fmla="*/ 1 w 4"/>
                <a:gd name="T7" fmla="*/ 0 h 58"/>
                <a:gd name="T8" fmla="*/ 1 w 4"/>
                <a:gd name="T9" fmla="*/ 0 h 58"/>
                <a:gd name="T10" fmla="*/ 1 w 4"/>
                <a:gd name="T11" fmla="*/ 0 h 58"/>
                <a:gd name="T12" fmla="*/ 1 w 4"/>
                <a:gd name="T13" fmla="*/ 0 h 58"/>
                <a:gd name="T14" fmla="*/ 1 w 4"/>
                <a:gd name="T15" fmla="*/ 0 h 58"/>
                <a:gd name="T16" fmla="*/ 1 w 4"/>
                <a:gd name="T17" fmla="*/ 19 h 58"/>
                <a:gd name="T18" fmla="*/ 2 w 4"/>
                <a:gd name="T19" fmla="*/ 43 h 58"/>
                <a:gd name="T20" fmla="*/ 2 w 4"/>
                <a:gd name="T21" fmla="*/ 43 h 58"/>
                <a:gd name="T22" fmla="*/ 2 w 4"/>
                <a:gd name="T23" fmla="*/ 49 h 58"/>
                <a:gd name="T24" fmla="*/ 3 w 4"/>
                <a:gd name="T25" fmla="*/ 54 h 58"/>
                <a:gd name="T26" fmla="*/ 3 w 4"/>
                <a:gd name="T27" fmla="*/ 56 h 58"/>
                <a:gd name="T28" fmla="*/ 3 w 4"/>
                <a:gd name="T29" fmla="*/ 56 h 58"/>
                <a:gd name="T30" fmla="*/ 4 w 4"/>
                <a:gd name="T31" fmla="*/ 57 h 58"/>
                <a:gd name="T32" fmla="*/ 4 w 4"/>
                <a:gd name="T33" fmla="*/ 57 h 58"/>
                <a:gd name="T34" fmla="*/ 4 w 4"/>
                <a:gd name="T35" fmla="*/ 57 h 58"/>
                <a:gd name="T36" fmla="*/ 4 w 4"/>
                <a:gd name="T37" fmla="*/ 57 h 58"/>
                <a:gd name="T38" fmla="*/ 4 w 4"/>
                <a:gd name="T39" fmla="*/ 57 h 58"/>
                <a:gd name="T40" fmla="*/ 3 w 4"/>
                <a:gd name="T41" fmla="*/ 57 h 58"/>
                <a:gd name="T42" fmla="*/ 3 w 4"/>
                <a:gd name="T43" fmla="*/ 57 h 58"/>
                <a:gd name="T44" fmla="*/ 3 w 4"/>
                <a:gd name="T45" fmla="*/ 58 h 58"/>
                <a:gd name="T46" fmla="*/ 3 w 4"/>
                <a:gd name="T47" fmla="*/ 58 h 58"/>
                <a:gd name="T48" fmla="*/ 3 w 4"/>
                <a:gd name="T49" fmla="*/ 57 h 58"/>
                <a:gd name="T50" fmla="*/ 3 w 4"/>
                <a:gd name="T51" fmla="*/ 57 h 58"/>
                <a:gd name="T52" fmla="*/ 3 w 4"/>
                <a:gd name="T53" fmla="*/ 57 h 58"/>
                <a:gd name="T54" fmla="*/ 3 w 4"/>
                <a:gd name="T55" fmla="*/ 57 h 58"/>
                <a:gd name="T56" fmla="*/ 2 w 4"/>
                <a:gd name="T57" fmla="*/ 56 h 58"/>
                <a:gd name="T58" fmla="*/ 2 w 4"/>
                <a:gd name="T59" fmla="*/ 56 h 58"/>
                <a:gd name="T60" fmla="*/ 2 w 4"/>
                <a:gd name="T61" fmla="*/ 54 h 58"/>
                <a:gd name="T62" fmla="*/ 2 w 4"/>
                <a:gd name="T63" fmla="*/ 49 h 58"/>
                <a:gd name="T64" fmla="*/ 1 w 4"/>
                <a:gd name="T65" fmla="*/ 43 h 58"/>
                <a:gd name="T66" fmla="*/ 1 w 4"/>
                <a:gd name="T67" fmla="*/ 19 h 58"/>
                <a:gd name="T68" fmla="*/ 0 w 4"/>
                <a:gd name="T6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" h="58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9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9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2" y="49"/>
                  </a:lnTo>
                  <a:lnTo>
                    <a:pt x="1" y="43"/>
                  </a:lnTo>
                  <a:lnTo>
                    <a:pt x="1" y="19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26">
              <a:extLst>
                <a:ext uri="{FF2B5EF4-FFF2-40B4-BE49-F238E27FC236}">
                  <a16:creationId xmlns:a16="http://schemas.microsoft.com/office/drawing/2014/main" id="{86DE322E-F970-4E91-BB50-778956645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82"/>
              <a:ext cx="64" cy="673"/>
            </a:xfrm>
            <a:custGeom>
              <a:avLst/>
              <a:gdLst>
                <a:gd name="T0" fmla="*/ 0 w 5"/>
                <a:gd name="T1" fmla="*/ 0 h 57"/>
                <a:gd name="T2" fmla="*/ 0 w 5"/>
                <a:gd name="T3" fmla="*/ 0 h 57"/>
                <a:gd name="T4" fmla="*/ 0 w 5"/>
                <a:gd name="T5" fmla="*/ 0 h 57"/>
                <a:gd name="T6" fmla="*/ 0 w 5"/>
                <a:gd name="T7" fmla="*/ 0 h 57"/>
                <a:gd name="T8" fmla="*/ 0 w 5"/>
                <a:gd name="T9" fmla="*/ 0 h 57"/>
                <a:gd name="T10" fmla="*/ 0 w 5"/>
                <a:gd name="T11" fmla="*/ 0 h 57"/>
                <a:gd name="T12" fmla="*/ 0 w 5"/>
                <a:gd name="T13" fmla="*/ 0 h 57"/>
                <a:gd name="T14" fmla="*/ 0 w 5"/>
                <a:gd name="T15" fmla="*/ 0 h 57"/>
                <a:gd name="T16" fmla="*/ 1 w 5"/>
                <a:gd name="T17" fmla="*/ 19 h 57"/>
                <a:gd name="T18" fmla="*/ 1 w 5"/>
                <a:gd name="T19" fmla="*/ 19 h 57"/>
                <a:gd name="T20" fmla="*/ 1 w 5"/>
                <a:gd name="T21" fmla="*/ 31 h 57"/>
                <a:gd name="T22" fmla="*/ 2 w 5"/>
                <a:gd name="T23" fmla="*/ 43 h 57"/>
                <a:gd name="T24" fmla="*/ 2 w 5"/>
                <a:gd name="T25" fmla="*/ 46 h 57"/>
                <a:gd name="T26" fmla="*/ 2 w 5"/>
                <a:gd name="T27" fmla="*/ 50 h 57"/>
                <a:gd name="T28" fmla="*/ 3 w 5"/>
                <a:gd name="T29" fmla="*/ 53 h 57"/>
                <a:gd name="T30" fmla="*/ 3 w 5"/>
                <a:gd name="T31" fmla="*/ 53 h 57"/>
                <a:gd name="T32" fmla="*/ 4 w 5"/>
                <a:gd name="T33" fmla="*/ 55 h 57"/>
                <a:gd name="T34" fmla="*/ 4 w 5"/>
                <a:gd name="T35" fmla="*/ 54 h 57"/>
                <a:gd name="T36" fmla="*/ 4 w 5"/>
                <a:gd name="T37" fmla="*/ 55 h 57"/>
                <a:gd name="T38" fmla="*/ 4 w 5"/>
                <a:gd name="T39" fmla="*/ 55 h 57"/>
                <a:gd name="T40" fmla="*/ 5 w 5"/>
                <a:gd name="T41" fmla="*/ 56 h 57"/>
                <a:gd name="T42" fmla="*/ 5 w 5"/>
                <a:gd name="T43" fmla="*/ 56 h 57"/>
                <a:gd name="T44" fmla="*/ 5 w 5"/>
                <a:gd name="T45" fmla="*/ 56 h 57"/>
                <a:gd name="T46" fmla="*/ 5 w 5"/>
                <a:gd name="T47" fmla="*/ 56 h 57"/>
                <a:gd name="T48" fmla="*/ 5 w 5"/>
                <a:gd name="T49" fmla="*/ 56 h 57"/>
                <a:gd name="T50" fmla="*/ 5 w 5"/>
                <a:gd name="T51" fmla="*/ 56 h 57"/>
                <a:gd name="T52" fmla="*/ 5 w 5"/>
                <a:gd name="T53" fmla="*/ 56 h 57"/>
                <a:gd name="T54" fmla="*/ 5 w 5"/>
                <a:gd name="T55" fmla="*/ 56 h 57"/>
                <a:gd name="T56" fmla="*/ 5 w 5"/>
                <a:gd name="T57" fmla="*/ 56 h 57"/>
                <a:gd name="T58" fmla="*/ 5 w 5"/>
                <a:gd name="T59" fmla="*/ 57 h 57"/>
                <a:gd name="T60" fmla="*/ 5 w 5"/>
                <a:gd name="T61" fmla="*/ 57 h 57"/>
                <a:gd name="T62" fmla="*/ 5 w 5"/>
                <a:gd name="T63" fmla="*/ 56 h 57"/>
                <a:gd name="T64" fmla="*/ 5 w 5"/>
                <a:gd name="T65" fmla="*/ 56 h 57"/>
                <a:gd name="T66" fmla="*/ 4 w 5"/>
                <a:gd name="T67" fmla="*/ 56 h 57"/>
                <a:gd name="T68" fmla="*/ 4 w 5"/>
                <a:gd name="T69" fmla="*/ 56 h 57"/>
                <a:gd name="T70" fmla="*/ 3 w 5"/>
                <a:gd name="T71" fmla="*/ 55 h 57"/>
                <a:gd name="T72" fmla="*/ 3 w 5"/>
                <a:gd name="T73" fmla="*/ 55 h 57"/>
                <a:gd name="T74" fmla="*/ 2 w 5"/>
                <a:gd name="T75" fmla="*/ 53 h 57"/>
                <a:gd name="T76" fmla="*/ 2 w 5"/>
                <a:gd name="T77" fmla="*/ 50 h 57"/>
                <a:gd name="T78" fmla="*/ 2 w 5"/>
                <a:gd name="T79" fmla="*/ 50 h 57"/>
                <a:gd name="T80" fmla="*/ 1 w 5"/>
                <a:gd name="T81" fmla="*/ 46 h 57"/>
                <a:gd name="T82" fmla="*/ 1 w 5"/>
                <a:gd name="T83" fmla="*/ 43 h 57"/>
                <a:gd name="T84" fmla="*/ 0 w 5"/>
                <a:gd name="T85" fmla="*/ 32 h 57"/>
                <a:gd name="T86" fmla="*/ 0 w 5"/>
                <a:gd name="T87" fmla="*/ 19 h 57"/>
                <a:gd name="T88" fmla="*/ 0 w 5"/>
                <a:gd name="T8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" h="5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31"/>
                  </a:lnTo>
                  <a:lnTo>
                    <a:pt x="2" y="43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4" y="55"/>
                  </a:lnTo>
                  <a:lnTo>
                    <a:pt x="4" y="54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2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" y="46"/>
                  </a:lnTo>
                  <a:lnTo>
                    <a:pt x="1" y="43"/>
                  </a:lnTo>
                  <a:lnTo>
                    <a:pt x="0" y="32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27">
              <a:extLst>
                <a:ext uri="{FF2B5EF4-FFF2-40B4-BE49-F238E27FC236}">
                  <a16:creationId xmlns:a16="http://schemas.microsoft.com/office/drawing/2014/main" id="{18D64AD1-FD46-44F1-AA13-AF8320C39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070"/>
              <a:ext cx="64" cy="685"/>
            </a:xfrm>
            <a:custGeom>
              <a:avLst/>
              <a:gdLst>
                <a:gd name="T0" fmla="*/ 4 w 5"/>
                <a:gd name="T1" fmla="*/ 1 h 58"/>
                <a:gd name="T2" fmla="*/ 4 w 5"/>
                <a:gd name="T3" fmla="*/ 0 h 58"/>
                <a:gd name="T4" fmla="*/ 4 w 5"/>
                <a:gd name="T5" fmla="*/ 0 h 58"/>
                <a:gd name="T6" fmla="*/ 4 w 5"/>
                <a:gd name="T7" fmla="*/ 0 h 58"/>
                <a:gd name="T8" fmla="*/ 4 w 5"/>
                <a:gd name="T9" fmla="*/ 0 h 58"/>
                <a:gd name="T10" fmla="*/ 4 w 5"/>
                <a:gd name="T11" fmla="*/ 0 h 58"/>
                <a:gd name="T12" fmla="*/ 4 w 5"/>
                <a:gd name="T13" fmla="*/ 0 h 58"/>
                <a:gd name="T14" fmla="*/ 4 w 5"/>
                <a:gd name="T15" fmla="*/ 1 h 58"/>
                <a:gd name="T16" fmla="*/ 5 w 5"/>
                <a:gd name="T17" fmla="*/ 20 h 58"/>
                <a:gd name="T18" fmla="*/ 4 w 5"/>
                <a:gd name="T19" fmla="*/ 33 h 58"/>
                <a:gd name="T20" fmla="*/ 4 w 5"/>
                <a:gd name="T21" fmla="*/ 44 h 58"/>
                <a:gd name="T22" fmla="*/ 4 w 5"/>
                <a:gd name="T23" fmla="*/ 50 h 58"/>
                <a:gd name="T24" fmla="*/ 3 w 5"/>
                <a:gd name="T25" fmla="*/ 53 h 58"/>
                <a:gd name="T26" fmla="*/ 3 w 5"/>
                <a:gd name="T27" fmla="*/ 53 h 58"/>
                <a:gd name="T28" fmla="*/ 3 w 5"/>
                <a:gd name="T29" fmla="*/ 55 h 58"/>
                <a:gd name="T30" fmla="*/ 2 w 5"/>
                <a:gd name="T31" fmla="*/ 56 h 58"/>
                <a:gd name="T32" fmla="*/ 2 w 5"/>
                <a:gd name="T33" fmla="*/ 57 h 58"/>
                <a:gd name="T34" fmla="*/ 2 w 5"/>
                <a:gd name="T35" fmla="*/ 57 h 58"/>
                <a:gd name="T36" fmla="*/ 1 w 5"/>
                <a:gd name="T37" fmla="*/ 57 h 58"/>
                <a:gd name="T38" fmla="*/ 1 w 5"/>
                <a:gd name="T39" fmla="*/ 57 h 58"/>
                <a:gd name="T40" fmla="*/ 1 w 5"/>
                <a:gd name="T41" fmla="*/ 58 h 58"/>
                <a:gd name="T42" fmla="*/ 0 w 5"/>
                <a:gd name="T43" fmla="*/ 58 h 58"/>
                <a:gd name="T44" fmla="*/ 0 w 5"/>
                <a:gd name="T45" fmla="*/ 57 h 58"/>
                <a:gd name="T46" fmla="*/ 0 w 5"/>
                <a:gd name="T47" fmla="*/ 57 h 58"/>
                <a:gd name="T48" fmla="*/ 0 w 5"/>
                <a:gd name="T49" fmla="*/ 57 h 58"/>
                <a:gd name="T50" fmla="*/ 0 w 5"/>
                <a:gd name="T51" fmla="*/ 57 h 58"/>
                <a:gd name="T52" fmla="*/ 0 w 5"/>
                <a:gd name="T53" fmla="*/ 57 h 58"/>
                <a:gd name="T54" fmla="*/ 0 w 5"/>
                <a:gd name="T55" fmla="*/ 57 h 58"/>
                <a:gd name="T56" fmla="*/ 1 w 5"/>
                <a:gd name="T57" fmla="*/ 56 h 58"/>
                <a:gd name="T58" fmla="*/ 1 w 5"/>
                <a:gd name="T59" fmla="*/ 56 h 58"/>
                <a:gd name="T60" fmla="*/ 2 w 5"/>
                <a:gd name="T61" fmla="*/ 55 h 58"/>
                <a:gd name="T62" fmla="*/ 2 w 5"/>
                <a:gd name="T63" fmla="*/ 55 h 58"/>
                <a:gd name="T64" fmla="*/ 3 w 5"/>
                <a:gd name="T65" fmla="*/ 53 h 58"/>
                <a:gd name="T66" fmla="*/ 3 w 5"/>
                <a:gd name="T67" fmla="*/ 50 h 58"/>
                <a:gd name="T68" fmla="*/ 3 w 5"/>
                <a:gd name="T69" fmla="*/ 44 h 58"/>
                <a:gd name="T70" fmla="*/ 3 w 5"/>
                <a:gd name="T71" fmla="*/ 44 h 58"/>
                <a:gd name="T72" fmla="*/ 4 w 5"/>
                <a:gd name="T73" fmla="*/ 32 h 58"/>
                <a:gd name="T74" fmla="*/ 4 w 5"/>
                <a:gd name="T75" fmla="*/ 20 h 58"/>
                <a:gd name="T76" fmla="*/ 4 w 5"/>
                <a:gd name="T77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" h="58">
                  <a:moveTo>
                    <a:pt x="4" y="1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20"/>
                  </a:lnTo>
                  <a:lnTo>
                    <a:pt x="4" y="33"/>
                  </a:lnTo>
                  <a:lnTo>
                    <a:pt x="4" y="44"/>
                  </a:lnTo>
                  <a:lnTo>
                    <a:pt x="4" y="50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5"/>
                  </a:lnTo>
                  <a:lnTo>
                    <a:pt x="2" y="56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3" y="53"/>
                  </a:lnTo>
                  <a:lnTo>
                    <a:pt x="3" y="50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4" y="32"/>
                  </a:lnTo>
                  <a:lnTo>
                    <a:pt x="4" y="20"/>
                  </a:lnTo>
                  <a:lnTo>
                    <a:pt x="4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28">
              <a:extLst>
                <a:ext uri="{FF2B5EF4-FFF2-40B4-BE49-F238E27FC236}">
                  <a16:creationId xmlns:a16="http://schemas.microsoft.com/office/drawing/2014/main" id="{E6630150-2B25-4C98-9B5E-57D685016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2082"/>
              <a:ext cx="26" cy="685"/>
            </a:xfrm>
            <a:custGeom>
              <a:avLst/>
              <a:gdLst>
                <a:gd name="T0" fmla="*/ 2 w 2"/>
                <a:gd name="T1" fmla="*/ 0 h 58"/>
                <a:gd name="T2" fmla="*/ 2 w 2"/>
                <a:gd name="T3" fmla="*/ 0 h 58"/>
                <a:gd name="T4" fmla="*/ 2 w 2"/>
                <a:gd name="T5" fmla="*/ 0 h 58"/>
                <a:gd name="T6" fmla="*/ 2 w 2"/>
                <a:gd name="T7" fmla="*/ 0 h 58"/>
                <a:gd name="T8" fmla="*/ 2 w 2"/>
                <a:gd name="T9" fmla="*/ 0 h 58"/>
                <a:gd name="T10" fmla="*/ 2 w 2"/>
                <a:gd name="T11" fmla="*/ 0 h 58"/>
                <a:gd name="T12" fmla="*/ 2 w 2"/>
                <a:gd name="T13" fmla="*/ 0 h 58"/>
                <a:gd name="T14" fmla="*/ 2 w 2"/>
                <a:gd name="T15" fmla="*/ 0 h 58"/>
                <a:gd name="T16" fmla="*/ 2 w 2"/>
                <a:gd name="T17" fmla="*/ 12 h 58"/>
                <a:gd name="T18" fmla="*/ 2 w 2"/>
                <a:gd name="T19" fmla="*/ 19 h 58"/>
                <a:gd name="T20" fmla="*/ 2 w 2"/>
                <a:gd name="T21" fmla="*/ 32 h 58"/>
                <a:gd name="T22" fmla="*/ 2 w 2"/>
                <a:gd name="T23" fmla="*/ 43 h 58"/>
                <a:gd name="T24" fmla="*/ 2 w 2"/>
                <a:gd name="T25" fmla="*/ 51 h 58"/>
                <a:gd name="T26" fmla="*/ 2 w 2"/>
                <a:gd name="T27" fmla="*/ 54 h 58"/>
                <a:gd name="T28" fmla="*/ 2 w 2"/>
                <a:gd name="T29" fmla="*/ 56 h 58"/>
                <a:gd name="T30" fmla="*/ 1 w 2"/>
                <a:gd name="T31" fmla="*/ 56 h 58"/>
                <a:gd name="T32" fmla="*/ 1 w 2"/>
                <a:gd name="T33" fmla="*/ 58 h 58"/>
                <a:gd name="T34" fmla="*/ 1 w 2"/>
                <a:gd name="T35" fmla="*/ 58 h 58"/>
                <a:gd name="T36" fmla="*/ 1 w 2"/>
                <a:gd name="T37" fmla="*/ 58 h 58"/>
                <a:gd name="T38" fmla="*/ 1 w 2"/>
                <a:gd name="T39" fmla="*/ 58 h 58"/>
                <a:gd name="T40" fmla="*/ 1 w 2"/>
                <a:gd name="T41" fmla="*/ 58 h 58"/>
                <a:gd name="T42" fmla="*/ 1 w 2"/>
                <a:gd name="T43" fmla="*/ 58 h 58"/>
                <a:gd name="T44" fmla="*/ 1 w 2"/>
                <a:gd name="T45" fmla="*/ 58 h 58"/>
                <a:gd name="T46" fmla="*/ 0 w 2"/>
                <a:gd name="T47" fmla="*/ 58 h 58"/>
                <a:gd name="T48" fmla="*/ 0 w 2"/>
                <a:gd name="T49" fmla="*/ 57 h 58"/>
                <a:gd name="T50" fmla="*/ 1 w 2"/>
                <a:gd name="T51" fmla="*/ 56 h 58"/>
                <a:gd name="T52" fmla="*/ 1 w 2"/>
                <a:gd name="T53" fmla="*/ 54 h 58"/>
                <a:gd name="T54" fmla="*/ 2 w 2"/>
                <a:gd name="T55" fmla="*/ 50 h 58"/>
                <a:gd name="T56" fmla="*/ 2 w 2"/>
                <a:gd name="T57" fmla="*/ 43 h 58"/>
                <a:gd name="T58" fmla="*/ 2 w 2"/>
                <a:gd name="T59" fmla="*/ 43 h 58"/>
                <a:gd name="T60" fmla="*/ 2 w 2"/>
                <a:gd name="T61" fmla="*/ 32 h 58"/>
                <a:gd name="T62" fmla="*/ 2 w 2"/>
                <a:gd name="T63" fmla="*/ 19 h 58"/>
                <a:gd name="T64" fmla="*/ 2 w 2"/>
                <a:gd name="T65" fmla="*/ 12 h 58"/>
                <a:gd name="T66" fmla="*/ 2 w 2"/>
                <a:gd name="T6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" h="58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2"/>
                  </a:lnTo>
                  <a:lnTo>
                    <a:pt x="2" y="19"/>
                  </a:lnTo>
                  <a:lnTo>
                    <a:pt x="2" y="32"/>
                  </a:lnTo>
                  <a:lnTo>
                    <a:pt x="2" y="43"/>
                  </a:lnTo>
                  <a:lnTo>
                    <a:pt x="2" y="51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1" y="56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1" y="56"/>
                  </a:lnTo>
                  <a:lnTo>
                    <a:pt x="1" y="54"/>
                  </a:lnTo>
                  <a:lnTo>
                    <a:pt x="2" y="50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32"/>
                  </a:lnTo>
                  <a:lnTo>
                    <a:pt x="2" y="19"/>
                  </a:lnTo>
                  <a:lnTo>
                    <a:pt x="2" y="12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29">
              <a:extLst>
                <a:ext uri="{FF2B5EF4-FFF2-40B4-BE49-F238E27FC236}">
                  <a16:creationId xmlns:a16="http://schemas.microsoft.com/office/drawing/2014/main" id="{3C405646-E6EE-4C36-B464-EB94ADE7E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" y="2507"/>
              <a:ext cx="25" cy="248"/>
            </a:xfrm>
            <a:custGeom>
              <a:avLst/>
              <a:gdLst>
                <a:gd name="T0" fmla="*/ 1 w 2"/>
                <a:gd name="T1" fmla="*/ 1 h 21"/>
                <a:gd name="T2" fmla="*/ 1 w 2"/>
                <a:gd name="T3" fmla="*/ 1 h 21"/>
                <a:gd name="T4" fmla="*/ 1 w 2"/>
                <a:gd name="T5" fmla="*/ 0 h 21"/>
                <a:gd name="T6" fmla="*/ 1 w 2"/>
                <a:gd name="T7" fmla="*/ 0 h 21"/>
                <a:gd name="T8" fmla="*/ 1 w 2"/>
                <a:gd name="T9" fmla="*/ 1 h 21"/>
                <a:gd name="T10" fmla="*/ 2 w 2"/>
                <a:gd name="T11" fmla="*/ 1 h 21"/>
                <a:gd name="T12" fmla="*/ 2 w 2"/>
                <a:gd name="T13" fmla="*/ 1 h 21"/>
                <a:gd name="T14" fmla="*/ 1 w 2"/>
                <a:gd name="T15" fmla="*/ 14 h 21"/>
                <a:gd name="T16" fmla="*/ 1 w 2"/>
                <a:gd name="T17" fmla="*/ 18 h 21"/>
                <a:gd name="T18" fmla="*/ 1 w 2"/>
                <a:gd name="T19" fmla="*/ 19 h 21"/>
                <a:gd name="T20" fmla="*/ 1 w 2"/>
                <a:gd name="T21" fmla="*/ 20 h 21"/>
                <a:gd name="T22" fmla="*/ 0 w 2"/>
                <a:gd name="T23" fmla="*/ 21 h 21"/>
                <a:gd name="T24" fmla="*/ 0 w 2"/>
                <a:gd name="T25" fmla="*/ 21 h 21"/>
                <a:gd name="T26" fmla="*/ 0 w 2"/>
                <a:gd name="T27" fmla="*/ 21 h 21"/>
                <a:gd name="T28" fmla="*/ 0 w 2"/>
                <a:gd name="T29" fmla="*/ 21 h 21"/>
                <a:gd name="T30" fmla="*/ 0 w 2"/>
                <a:gd name="T31" fmla="*/ 21 h 21"/>
                <a:gd name="T32" fmla="*/ 0 w 2"/>
                <a:gd name="T33" fmla="*/ 21 h 21"/>
                <a:gd name="T34" fmla="*/ 0 w 2"/>
                <a:gd name="T35" fmla="*/ 21 h 21"/>
                <a:gd name="T36" fmla="*/ 0 w 2"/>
                <a:gd name="T37" fmla="*/ 21 h 21"/>
                <a:gd name="T38" fmla="*/ 0 w 2"/>
                <a:gd name="T39" fmla="*/ 20 h 21"/>
                <a:gd name="T40" fmla="*/ 0 w 2"/>
                <a:gd name="T41" fmla="*/ 19 h 21"/>
                <a:gd name="T42" fmla="*/ 0 w 2"/>
                <a:gd name="T43" fmla="*/ 17 h 21"/>
                <a:gd name="T44" fmla="*/ 1 w 2"/>
                <a:gd name="T45" fmla="*/ 14 h 21"/>
                <a:gd name="T46" fmla="*/ 1 w 2"/>
                <a:gd name="T47" fmla="*/ 14 h 21"/>
                <a:gd name="T48" fmla="*/ 1 w 2"/>
                <a:gd name="T49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" h="21">
                  <a:moveTo>
                    <a:pt x="1" y="1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4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30">
              <a:extLst>
                <a:ext uri="{FF2B5EF4-FFF2-40B4-BE49-F238E27FC236}">
                  <a16:creationId xmlns:a16="http://schemas.microsoft.com/office/drawing/2014/main" id="{060D3562-EA83-4FAA-9EF1-1073E2EC7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684"/>
              <a:ext cx="25" cy="35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0 h 3"/>
                <a:gd name="T4" fmla="*/ 1 w 2"/>
                <a:gd name="T5" fmla="*/ 0 h 3"/>
                <a:gd name="T6" fmla="*/ 1 w 2"/>
                <a:gd name="T7" fmla="*/ 0 h 3"/>
                <a:gd name="T8" fmla="*/ 1 w 2"/>
                <a:gd name="T9" fmla="*/ 1 h 3"/>
                <a:gd name="T10" fmla="*/ 1 w 2"/>
                <a:gd name="T11" fmla="*/ 3 h 3"/>
                <a:gd name="T12" fmla="*/ 1 w 2"/>
                <a:gd name="T13" fmla="*/ 3 h 3"/>
                <a:gd name="T14" fmla="*/ 1 w 2"/>
                <a:gd name="T15" fmla="*/ 3 h 3"/>
                <a:gd name="T16" fmla="*/ 1 w 2"/>
                <a:gd name="T17" fmla="*/ 3 h 3"/>
                <a:gd name="T18" fmla="*/ 1 w 2"/>
                <a:gd name="T19" fmla="*/ 3 h 3"/>
                <a:gd name="T20" fmla="*/ 1 w 2"/>
                <a:gd name="T21" fmla="*/ 2 h 3"/>
                <a:gd name="T22" fmla="*/ 1 w 2"/>
                <a:gd name="T23" fmla="*/ 1 h 3"/>
                <a:gd name="T24" fmla="*/ 1 w 2"/>
                <a:gd name="T25" fmla="*/ 0 h 3"/>
                <a:gd name="T26" fmla="*/ 1 w 2"/>
                <a:gd name="T27" fmla="*/ 0 h 3"/>
                <a:gd name="T28" fmla="*/ 1 w 2"/>
                <a:gd name="T29" fmla="*/ 0 h 3"/>
                <a:gd name="T30" fmla="*/ 1 w 2"/>
                <a:gd name="T31" fmla="*/ 0 h 3"/>
                <a:gd name="T32" fmla="*/ 1 w 2"/>
                <a:gd name="T33" fmla="*/ 0 h 3"/>
                <a:gd name="T34" fmla="*/ 1 w 2"/>
                <a:gd name="T35" fmla="*/ 0 h 3"/>
                <a:gd name="T36" fmla="*/ 0 w 2"/>
                <a:gd name="T37" fmla="*/ 1 h 3"/>
                <a:gd name="T38" fmla="*/ 0 w 2"/>
                <a:gd name="T39" fmla="*/ 0 h 3"/>
                <a:gd name="T40" fmla="*/ 0 w 2"/>
                <a:gd name="T41" fmla="*/ 0 h 3"/>
                <a:gd name="T42" fmla="*/ 0 w 2"/>
                <a:gd name="T43" fmla="*/ 0 h 3"/>
                <a:gd name="T44" fmla="*/ 0 w 2"/>
                <a:gd name="T45" fmla="*/ 0 h 3"/>
                <a:gd name="T46" fmla="*/ 1 w 2"/>
                <a:gd name="T47" fmla="*/ 0 h 3"/>
                <a:gd name="T48" fmla="*/ 1 w 2"/>
                <a:gd name="T49" fmla="*/ 0 h 3"/>
                <a:gd name="T50" fmla="*/ 1 w 2"/>
                <a:gd name="T51" fmla="*/ 1 h 3"/>
                <a:gd name="T52" fmla="*/ 2 w 2"/>
                <a:gd name="T53" fmla="*/ 1 h 3"/>
                <a:gd name="T54" fmla="*/ 2 w 2"/>
                <a:gd name="T55" fmla="*/ 3 h 3"/>
                <a:gd name="T56" fmla="*/ 2 w 2"/>
                <a:gd name="T57" fmla="*/ 3 h 3"/>
                <a:gd name="T58" fmla="*/ 1 w 2"/>
                <a:gd name="T59" fmla="*/ 3 h 3"/>
                <a:gd name="T60" fmla="*/ 1 w 2"/>
                <a:gd name="T61" fmla="*/ 3 h 3"/>
                <a:gd name="T62" fmla="*/ 1 w 2"/>
                <a:gd name="T63" fmla="*/ 3 h 3"/>
                <a:gd name="T64" fmla="*/ 1 w 2"/>
                <a:gd name="T65" fmla="*/ 3 h 3"/>
                <a:gd name="T66" fmla="*/ 1 w 2"/>
                <a:gd name="T67" fmla="*/ 3 h 3"/>
                <a:gd name="T68" fmla="*/ 0 w 2"/>
                <a:gd name="T69" fmla="*/ 3 h 3"/>
                <a:gd name="T70" fmla="*/ 0 w 2"/>
                <a:gd name="T7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31">
              <a:extLst>
                <a:ext uri="{FF2B5EF4-FFF2-40B4-BE49-F238E27FC236}">
                  <a16:creationId xmlns:a16="http://schemas.microsoft.com/office/drawing/2014/main" id="{2248DB55-CC10-40D0-B261-CD2619C0F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755"/>
              <a:ext cx="64" cy="47"/>
            </a:xfrm>
            <a:custGeom>
              <a:avLst/>
              <a:gdLst>
                <a:gd name="T0" fmla="*/ 0 w 5"/>
                <a:gd name="T1" fmla="*/ 0 h 4"/>
                <a:gd name="T2" fmla="*/ 0 w 5"/>
                <a:gd name="T3" fmla="*/ 0 h 4"/>
                <a:gd name="T4" fmla="*/ 0 w 5"/>
                <a:gd name="T5" fmla="*/ 0 h 4"/>
                <a:gd name="T6" fmla="*/ 1 w 5"/>
                <a:gd name="T7" fmla="*/ 0 h 4"/>
                <a:gd name="T8" fmla="*/ 1 w 5"/>
                <a:gd name="T9" fmla="*/ 0 h 4"/>
                <a:gd name="T10" fmla="*/ 1 w 5"/>
                <a:gd name="T11" fmla="*/ 0 h 4"/>
                <a:gd name="T12" fmla="*/ 1 w 5"/>
                <a:gd name="T13" fmla="*/ 0 h 4"/>
                <a:gd name="T14" fmla="*/ 2 w 5"/>
                <a:gd name="T15" fmla="*/ 1 h 4"/>
                <a:gd name="T16" fmla="*/ 2 w 5"/>
                <a:gd name="T17" fmla="*/ 1 h 4"/>
                <a:gd name="T18" fmla="*/ 2 w 5"/>
                <a:gd name="T19" fmla="*/ 2 h 4"/>
                <a:gd name="T20" fmla="*/ 3 w 5"/>
                <a:gd name="T21" fmla="*/ 2 h 4"/>
                <a:gd name="T22" fmla="*/ 3 w 5"/>
                <a:gd name="T23" fmla="*/ 2 h 4"/>
                <a:gd name="T24" fmla="*/ 3 w 5"/>
                <a:gd name="T25" fmla="*/ 3 h 4"/>
                <a:gd name="T26" fmla="*/ 3 w 5"/>
                <a:gd name="T27" fmla="*/ 3 h 4"/>
                <a:gd name="T28" fmla="*/ 4 w 5"/>
                <a:gd name="T29" fmla="*/ 3 h 4"/>
                <a:gd name="T30" fmla="*/ 5 w 5"/>
                <a:gd name="T31" fmla="*/ 3 h 4"/>
                <a:gd name="T32" fmla="*/ 5 w 5"/>
                <a:gd name="T33" fmla="*/ 3 h 4"/>
                <a:gd name="T34" fmla="*/ 5 w 5"/>
                <a:gd name="T35" fmla="*/ 3 h 4"/>
                <a:gd name="T36" fmla="*/ 5 w 5"/>
                <a:gd name="T37" fmla="*/ 3 h 4"/>
                <a:gd name="T38" fmla="*/ 5 w 5"/>
                <a:gd name="T39" fmla="*/ 3 h 4"/>
                <a:gd name="T40" fmla="*/ 5 w 5"/>
                <a:gd name="T41" fmla="*/ 3 h 4"/>
                <a:gd name="T42" fmla="*/ 5 w 5"/>
                <a:gd name="T43" fmla="*/ 4 h 4"/>
                <a:gd name="T44" fmla="*/ 5 w 5"/>
                <a:gd name="T45" fmla="*/ 4 h 4"/>
                <a:gd name="T46" fmla="*/ 5 w 5"/>
                <a:gd name="T47" fmla="*/ 4 h 4"/>
                <a:gd name="T48" fmla="*/ 5 w 5"/>
                <a:gd name="T49" fmla="*/ 4 h 4"/>
                <a:gd name="T50" fmla="*/ 5 w 5"/>
                <a:gd name="T51" fmla="*/ 4 h 4"/>
                <a:gd name="T52" fmla="*/ 5 w 5"/>
                <a:gd name="T53" fmla="*/ 4 h 4"/>
                <a:gd name="T54" fmla="*/ 5 w 5"/>
                <a:gd name="T55" fmla="*/ 4 h 4"/>
                <a:gd name="T56" fmla="*/ 5 w 5"/>
                <a:gd name="T57" fmla="*/ 4 h 4"/>
                <a:gd name="T58" fmla="*/ 5 w 5"/>
                <a:gd name="T59" fmla="*/ 4 h 4"/>
                <a:gd name="T60" fmla="*/ 5 w 5"/>
                <a:gd name="T61" fmla="*/ 4 h 4"/>
                <a:gd name="T62" fmla="*/ 4 w 5"/>
                <a:gd name="T63" fmla="*/ 4 h 4"/>
                <a:gd name="T64" fmla="*/ 3 w 5"/>
                <a:gd name="T65" fmla="*/ 3 h 4"/>
                <a:gd name="T66" fmla="*/ 2 w 5"/>
                <a:gd name="T67" fmla="*/ 3 h 4"/>
                <a:gd name="T68" fmla="*/ 2 w 5"/>
                <a:gd name="T69" fmla="*/ 2 h 4"/>
                <a:gd name="T70" fmla="*/ 2 w 5"/>
                <a:gd name="T71" fmla="*/ 2 h 4"/>
                <a:gd name="T72" fmla="*/ 1 w 5"/>
                <a:gd name="T73" fmla="*/ 2 h 4"/>
                <a:gd name="T74" fmla="*/ 1 w 5"/>
                <a:gd name="T75" fmla="*/ 2 h 4"/>
                <a:gd name="T76" fmla="*/ 0 w 5"/>
                <a:gd name="T77" fmla="*/ 1 h 4"/>
                <a:gd name="T78" fmla="*/ 0 w 5"/>
                <a:gd name="T7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32">
              <a:extLst>
                <a:ext uri="{FF2B5EF4-FFF2-40B4-BE49-F238E27FC236}">
                  <a16:creationId xmlns:a16="http://schemas.microsoft.com/office/drawing/2014/main" id="{85834685-0595-4A97-857A-FC11DE0B9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755"/>
              <a:ext cx="64" cy="35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0 h 3"/>
                <a:gd name="T4" fmla="*/ 0 w 5"/>
                <a:gd name="T5" fmla="*/ 0 h 3"/>
                <a:gd name="T6" fmla="*/ 0 w 5"/>
                <a:gd name="T7" fmla="*/ 0 h 3"/>
                <a:gd name="T8" fmla="*/ 0 w 5"/>
                <a:gd name="T9" fmla="*/ 0 h 3"/>
                <a:gd name="T10" fmla="*/ 0 w 5"/>
                <a:gd name="T11" fmla="*/ 0 h 3"/>
                <a:gd name="T12" fmla="*/ 1 w 5"/>
                <a:gd name="T13" fmla="*/ 0 h 3"/>
                <a:gd name="T14" fmla="*/ 2 w 5"/>
                <a:gd name="T15" fmla="*/ 0 h 3"/>
                <a:gd name="T16" fmla="*/ 2 w 5"/>
                <a:gd name="T17" fmla="*/ 0 h 3"/>
                <a:gd name="T18" fmla="*/ 2 w 5"/>
                <a:gd name="T19" fmla="*/ 1 h 3"/>
                <a:gd name="T20" fmla="*/ 2 w 5"/>
                <a:gd name="T21" fmla="*/ 1 h 3"/>
                <a:gd name="T22" fmla="*/ 3 w 5"/>
                <a:gd name="T23" fmla="*/ 1 h 3"/>
                <a:gd name="T24" fmla="*/ 4 w 5"/>
                <a:gd name="T25" fmla="*/ 2 h 3"/>
                <a:gd name="T26" fmla="*/ 4 w 5"/>
                <a:gd name="T27" fmla="*/ 2 h 3"/>
                <a:gd name="T28" fmla="*/ 4 w 5"/>
                <a:gd name="T29" fmla="*/ 2 h 3"/>
                <a:gd name="T30" fmla="*/ 5 w 5"/>
                <a:gd name="T31" fmla="*/ 3 h 3"/>
                <a:gd name="T32" fmla="*/ 5 w 5"/>
                <a:gd name="T33" fmla="*/ 3 h 3"/>
                <a:gd name="T34" fmla="*/ 5 w 5"/>
                <a:gd name="T35" fmla="*/ 3 h 3"/>
                <a:gd name="T36" fmla="*/ 5 w 5"/>
                <a:gd name="T37" fmla="*/ 3 h 3"/>
                <a:gd name="T38" fmla="*/ 5 w 5"/>
                <a:gd name="T39" fmla="*/ 3 h 3"/>
                <a:gd name="T40" fmla="*/ 5 w 5"/>
                <a:gd name="T41" fmla="*/ 3 h 3"/>
                <a:gd name="T42" fmla="*/ 5 w 5"/>
                <a:gd name="T43" fmla="*/ 3 h 3"/>
                <a:gd name="T44" fmla="*/ 5 w 5"/>
                <a:gd name="T45" fmla="*/ 3 h 3"/>
                <a:gd name="T46" fmla="*/ 5 w 5"/>
                <a:gd name="T47" fmla="*/ 3 h 3"/>
                <a:gd name="T48" fmla="*/ 5 w 5"/>
                <a:gd name="T49" fmla="*/ 3 h 3"/>
                <a:gd name="T50" fmla="*/ 5 w 5"/>
                <a:gd name="T51" fmla="*/ 3 h 3"/>
                <a:gd name="T52" fmla="*/ 5 w 5"/>
                <a:gd name="T53" fmla="*/ 3 h 3"/>
                <a:gd name="T54" fmla="*/ 5 w 5"/>
                <a:gd name="T55" fmla="*/ 3 h 3"/>
                <a:gd name="T56" fmla="*/ 5 w 5"/>
                <a:gd name="T57" fmla="*/ 3 h 3"/>
                <a:gd name="T58" fmla="*/ 5 w 5"/>
                <a:gd name="T59" fmla="*/ 3 h 3"/>
                <a:gd name="T60" fmla="*/ 5 w 5"/>
                <a:gd name="T61" fmla="*/ 3 h 3"/>
                <a:gd name="T62" fmla="*/ 4 w 5"/>
                <a:gd name="T63" fmla="*/ 3 h 3"/>
                <a:gd name="T64" fmla="*/ 4 w 5"/>
                <a:gd name="T65" fmla="*/ 3 h 3"/>
                <a:gd name="T66" fmla="*/ 4 w 5"/>
                <a:gd name="T67" fmla="*/ 3 h 3"/>
                <a:gd name="T68" fmla="*/ 3 w 5"/>
                <a:gd name="T69" fmla="*/ 3 h 3"/>
                <a:gd name="T70" fmla="*/ 2 w 5"/>
                <a:gd name="T71" fmla="*/ 2 h 3"/>
                <a:gd name="T72" fmla="*/ 2 w 5"/>
                <a:gd name="T73" fmla="*/ 1 h 3"/>
                <a:gd name="T74" fmla="*/ 2 w 5"/>
                <a:gd name="T75" fmla="*/ 1 h 3"/>
                <a:gd name="T76" fmla="*/ 1 w 5"/>
                <a:gd name="T77" fmla="*/ 1 h 3"/>
                <a:gd name="T78" fmla="*/ 1 w 5"/>
                <a:gd name="T79" fmla="*/ 1 h 3"/>
                <a:gd name="T80" fmla="*/ 0 w 5"/>
                <a:gd name="T8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33">
              <a:extLst>
                <a:ext uri="{FF2B5EF4-FFF2-40B4-BE49-F238E27FC236}">
                  <a16:creationId xmlns:a16="http://schemas.microsoft.com/office/drawing/2014/main" id="{1D1C255A-D214-42BD-8B34-36733C11C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755"/>
              <a:ext cx="52" cy="35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  <a:gd name="T4" fmla="*/ 0 w 4"/>
                <a:gd name="T5" fmla="*/ 0 h 3"/>
                <a:gd name="T6" fmla="*/ 0 w 4"/>
                <a:gd name="T7" fmla="*/ 0 h 3"/>
                <a:gd name="T8" fmla="*/ 0 w 4"/>
                <a:gd name="T9" fmla="*/ 0 h 3"/>
                <a:gd name="T10" fmla="*/ 0 w 4"/>
                <a:gd name="T11" fmla="*/ 0 h 3"/>
                <a:gd name="T12" fmla="*/ 0 w 4"/>
                <a:gd name="T13" fmla="*/ 0 h 3"/>
                <a:gd name="T14" fmla="*/ 1 w 4"/>
                <a:gd name="T15" fmla="*/ 1 h 3"/>
                <a:gd name="T16" fmla="*/ 1 w 4"/>
                <a:gd name="T17" fmla="*/ 0 h 3"/>
                <a:gd name="T18" fmla="*/ 2 w 4"/>
                <a:gd name="T19" fmla="*/ 1 h 3"/>
                <a:gd name="T20" fmla="*/ 3 w 4"/>
                <a:gd name="T21" fmla="*/ 2 h 3"/>
                <a:gd name="T22" fmla="*/ 3 w 4"/>
                <a:gd name="T23" fmla="*/ 2 h 3"/>
                <a:gd name="T24" fmla="*/ 3 w 4"/>
                <a:gd name="T25" fmla="*/ 2 h 3"/>
                <a:gd name="T26" fmla="*/ 4 w 4"/>
                <a:gd name="T27" fmla="*/ 2 h 3"/>
                <a:gd name="T28" fmla="*/ 4 w 4"/>
                <a:gd name="T29" fmla="*/ 2 h 3"/>
                <a:gd name="T30" fmla="*/ 4 w 4"/>
                <a:gd name="T31" fmla="*/ 2 h 3"/>
                <a:gd name="T32" fmla="*/ 4 w 4"/>
                <a:gd name="T33" fmla="*/ 2 h 3"/>
                <a:gd name="T34" fmla="*/ 4 w 4"/>
                <a:gd name="T35" fmla="*/ 2 h 3"/>
                <a:gd name="T36" fmla="*/ 4 w 4"/>
                <a:gd name="T37" fmla="*/ 2 h 3"/>
                <a:gd name="T38" fmla="*/ 4 w 4"/>
                <a:gd name="T39" fmla="*/ 2 h 3"/>
                <a:gd name="T40" fmla="*/ 4 w 4"/>
                <a:gd name="T41" fmla="*/ 2 h 3"/>
                <a:gd name="T42" fmla="*/ 4 w 4"/>
                <a:gd name="T43" fmla="*/ 3 h 3"/>
                <a:gd name="T44" fmla="*/ 4 w 4"/>
                <a:gd name="T45" fmla="*/ 3 h 3"/>
                <a:gd name="T46" fmla="*/ 4 w 4"/>
                <a:gd name="T47" fmla="*/ 3 h 3"/>
                <a:gd name="T48" fmla="*/ 4 w 4"/>
                <a:gd name="T49" fmla="*/ 3 h 3"/>
                <a:gd name="T50" fmla="*/ 4 w 4"/>
                <a:gd name="T51" fmla="*/ 3 h 3"/>
                <a:gd name="T52" fmla="*/ 4 w 4"/>
                <a:gd name="T53" fmla="*/ 3 h 3"/>
                <a:gd name="T54" fmla="*/ 4 w 4"/>
                <a:gd name="T55" fmla="*/ 3 h 3"/>
                <a:gd name="T56" fmla="*/ 4 w 4"/>
                <a:gd name="T57" fmla="*/ 3 h 3"/>
                <a:gd name="T58" fmla="*/ 3 w 4"/>
                <a:gd name="T59" fmla="*/ 3 h 3"/>
                <a:gd name="T60" fmla="*/ 3 w 4"/>
                <a:gd name="T61" fmla="*/ 3 h 3"/>
                <a:gd name="T62" fmla="*/ 3 w 4"/>
                <a:gd name="T63" fmla="*/ 3 h 3"/>
                <a:gd name="T64" fmla="*/ 2 w 4"/>
                <a:gd name="T65" fmla="*/ 2 h 3"/>
                <a:gd name="T66" fmla="*/ 1 w 4"/>
                <a:gd name="T67" fmla="*/ 2 h 3"/>
                <a:gd name="T68" fmla="*/ 1 w 4"/>
                <a:gd name="T69" fmla="*/ 1 h 3"/>
                <a:gd name="T70" fmla="*/ 0 w 4"/>
                <a:gd name="T7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234">
              <a:extLst>
                <a:ext uri="{FF2B5EF4-FFF2-40B4-BE49-F238E27FC236}">
                  <a16:creationId xmlns:a16="http://schemas.microsoft.com/office/drawing/2014/main" id="{442B6F00-76E2-48D4-A3F9-BB2003351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755"/>
              <a:ext cx="13" cy="1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0 h 1"/>
                <a:gd name="T10" fmla="*/ 1 w 1"/>
                <a:gd name="T11" fmla="*/ 0 h 1"/>
                <a:gd name="T12" fmla="*/ 1 w 1"/>
                <a:gd name="T13" fmla="*/ 0 h 1"/>
                <a:gd name="T14" fmla="*/ 1 w 1"/>
                <a:gd name="T15" fmla="*/ 0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0 w 1"/>
                <a:gd name="T33" fmla="*/ 1 h 1"/>
                <a:gd name="T34" fmla="*/ 0 w 1"/>
                <a:gd name="T35" fmla="*/ 1 h 1"/>
                <a:gd name="T36" fmla="*/ 0 w 1"/>
                <a:gd name="T37" fmla="*/ 1 h 1"/>
                <a:gd name="T38" fmla="*/ 0 w 1"/>
                <a:gd name="T39" fmla="*/ 1 h 1"/>
                <a:gd name="T40" fmla="*/ 0 w 1"/>
                <a:gd name="T41" fmla="*/ 1 h 1"/>
                <a:gd name="T42" fmla="*/ 0 w 1"/>
                <a:gd name="T4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235">
              <a:extLst>
                <a:ext uri="{FF2B5EF4-FFF2-40B4-BE49-F238E27FC236}">
                  <a16:creationId xmlns:a16="http://schemas.microsoft.com/office/drawing/2014/main" id="{35895A1D-8ABA-4E99-8398-56050E257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767"/>
              <a:ext cx="26" cy="2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1 w 2"/>
                <a:gd name="T5" fmla="*/ 0 h 2"/>
                <a:gd name="T6" fmla="*/ 1 w 2"/>
                <a:gd name="T7" fmla="*/ 0 h 2"/>
                <a:gd name="T8" fmla="*/ 1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2 w 2"/>
                <a:gd name="T15" fmla="*/ 1 h 2"/>
                <a:gd name="T16" fmla="*/ 2 w 2"/>
                <a:gd name="T17" fmla="*/ 1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2 w 2"/>
                <a:gd name="T25" fmla="*/ 2 h 2"/>
                <a:gd name="T26" fmla="*/ 2 w 2"/>
                <a:gd name="T27" fmla="*/ 2 h 2"/>
                <a:gd name="T28" fmla="*/ 2 w 2"/>
                <a:gd name="T29" fmla="*/ 2 h 2"/>
                <a:gd name="T30" fmla="*/ 2 w 2"/>
                <a:gd name="T31" fmla="*/ 2 h 2"/>
                <a:gd name="T32" fmla="*/ 2 w 2"/>
                <a:gd name="T33" fmla="*/ 2 h 2"/>
                <a:gd name="T34" fmla="*/ 2 w 2"/>
                <a:gd name="T35" fmla="*/ 2 h 2"/>
                <a:gd name="T36" fmla="*/ 2 w 2"/>
                <a:gd name="T37" fmla="*/ 2 h 2"/>
                <a:gd name="T38" fmla="*/ 1 w 2"/>
                <a:gd name="T39" fmla="*/ 2 h 2"/>
                <a:gd name="T40" fmla="*/ 0 w 2"/>
                <a:gd name="T4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236">
              <a:extLst>
                <a:ext uri="{FF2B5EF4-FFF2-40B4-BE49-F238E27FC236}">
                  <a16:creationId xmlns:a16="http://schemas.microsoft.com/office/drawing/2014/main" id="{DEE43484-579B-4FD9-9E6B-C234FB238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743"/>
              <a:ext cx="64" cy="59"/>
            </a:xfrm>
            <a:custGeom>
              <a:avLst/>
              <a:gdLst>
                <a:gd name="T0" fmla="*/ 1 w 5"/>
                <a:gd name="T1" fmla="*/ 5 h 5"/>
                <a:gd name="T2" fmla="*/ 0 w 5"/>
                <a:gd name="T3" fmla="*/ 5 h 5"/>
                <a:gd name="T4" fmla="*/ 0 w 5"/>
                <a:gd name="T5" fmla="*/ 5 h 5"/>
                <a:gd name="T6" fmla="*/ 0 w 5"/>
                <a:gd name="T7" fmla="*/ 5 h 5"/>
                <a:gd name="T8" fmla="*/ 0 w 5"/>
                <a:gd name="T9" fmla="*/ 5 h 5"/>
                <a:gd name="T10" fmla="*/ 0 w 5"/>
                <a:gd name="T11" fmla="*/ 5 h 5"/>
                <a:gd name="T12" fmla="*/ 0 w 5"/>
                <a:gd name="T13" fmla="*/ 4 h 5"/>
                <a:gd name="T14" fmla="*/ 0 w 5"/>
                <a:gd name="T15" fmla="*/ 4 h 5"/>
                <a:gd name="T16" fmla="*/ 1 w 5"/>
                <a:gd name="T17" fmla="*/ 4 h 5"/>
                <a:gd name="T18" fmla="*/ 2 w 5"/>
                <a:gd name="T19" fmla="*/ 3 h 5"/>
                <a:gd name="T20" fmla="*/ 2 w 5"/>
                <a:gd name="T21" fmla="*/ 3 h 5"/>
                <a:gd name="T22" fmla="*/ 3 w 5"/>
                <a:gd name="T23" fmla="*/ 3 h 5"/>
                <a:gd name="T24" fmla="*/ 3 w 5"/>
                <a:gd name="T25" fmla="*/ 3 h 5"/>
                <a:gd name="T26" fmla="*/ 4 w 5"/>
                <a:gd name="T27" fmla="*/ 2 h 5"/>
                <a:gd name="T28" fmla="*/ 3 w 5"/>
                <a:gd name="T29" fmla="*/ 2 h 5"/>
                <a:gd name="T30" fmla="*/ 4 w 5"/>
                <a:gd name="T31" fmla="*/ 2 h 5"/>
                <a:gd name="T32" fmla="*/ 4 w 5"/>
                <a:gd name="T33" fmla="*/ 2 h 5"/>
                <a:gd name="T34" fmla="*/ 4 w 5"/>
                <a:gd name="T35" fmla="*/ 2 h 5"/>
                <a:gd name="T36" fmla="*/ 4 w 5"/>
                <a:gd name="T37" fmla="*/ 2 h 5"/>
                <a:gd name="T38" fmla="*/ 5 w 5"/>
                <a:gd name="T39" fmla="*/ 1 h 5"/>
                <a:gd name="T40" fmla="*/ 5 w 5"/>
                <a:gd name="T41" fmla="*/ 1 h 5"/>
                <a:gd name="T42" fmla="*/ 5 w 5"/>
                <a:gd name="T43" fmla="*/ 0 h 5"/>
                <a:gd name="T44" fmla="*/ 5 w 5"/>
                <a:gd name="T45" fmla="*/ 0 h 5"/>
                <a:gd name="T46" fmla="*/ 5 w 5"/>
                <a:gd name="T47" fmla="*/ 0 h 5"/>
                <a:gd name="T48" fmla="*/ 5 w 5"/>
                <a:gd name="T49" fmla="*/ 0 h 5"/>
                <a:gd name="T50" fmla="*/ 5 w 5"/>
                <a:gd name="T51" fmla="*/ 0 h 5"/>
                <a:gd name="T52" fmla="*/ 5 w 5"/>
                <a:gd name="T53" fmla="*/ 0 h 5"/>
                <a:gd name="T54" fmla="*/ 5 w 5"/>
                <a:gd name="T55" fmla="*/ 0 h 5"/>
                <a:gd name="T56" fmla="*/ 5 w 5"/>
                <a:gd name="T57" fmla="*/ 0 h 5"/>
                <a:gd name="T58" fmla="*/ 5 w 5"/>
                <a:gd name="T59" fmla="*/ 0 h 5"/>
                <a:gd name="T60" fmla="*/ 5 w 5"/>
                <a:gd name="T61" fmla="*/ 1 h 5"/>
                <a:gd name="T62" fmla="*/ 5 w 5"/>
                <a:gd name="T63" fmla="*/ 1 h 5"/>
                <a:gd name="T64" fmla="*/ 5 w 5"/>
                <a:gd name="T65" fmla="*/ 2 h 5"/>
                <a:gd name="T66" fmla="*/ 4 w 5"/>
                <a:gd name="T67" fmla="*/ 2 h 5"/>
                <a:gd name="T68" fmla="*/ 4 w 5"/>
                <a:gd name="T69" fmla="*/ 3 h 5"/>
                <a:gd name="T70" fmla="*/ 4 w 5"/>
                <a:gd name="T71" fmla="*/ 3 h 5"/>
                <a:gd name="T72" fmla="*/ 3 w 5"/>
                <a:gd name="T73" fmla="*/ 3 h 5"/>
                <a:gd name="T74" fmla="*/ 2 w 5"/>
                <a:gd name="T75" fmla="*/ 4 h 5"/>
                <a:gd name="T76" fmla="*/ 2 w 5"/>
                <a:gd name="T77" fmla="*/ 4 h 5"/>
                <a:gd name="T78" fmla="*/ 1 w 5"/>
                <a:gd name="T79" fmla="*/ 4 h 5"/>
                <a:gd name="T80" fmla="*/ 1 w 5"/>
                <a:gd name="T8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5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237">
              <a:extLst>
                <a:ext uri="{FF2B5EF4-FFF2-40B4-BE49-F238E27FC236}">
                  <a16:creationId xmlns:a16="http://schemas.microsoft.com/office/drawing/2014/main" id="{465A382C-A227-4289-B1B5-75E8BEB21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755"/>
              <a:ext cx="51" cy="35"/>
            </a:xfrm>
            <a:custGeom>
              <a:avLst/>
              <a:gdLst>
                <a:gd name="T0" fmla="*/ 1 w 4"/>
                <a:gd name="T1" fmla="*/ 3 h 3"/>
                <a:gd name="T2" fmla="*/ 0 w 4"/>
                <a:gd name="T3" fmla="*/ 3 h 3"/>
                <a:gd name="T4" fmla="*/ 0 w 4"/>
                <a:gd name="T5" fmla="*/ 3 h 3"/>
                <a:gd name="T6" fmla="*/ 0 w 4"/>
                <a:gd name="T7" fmla="*/ 3 h 3"/>
                <a:gd name="T8" fmla="*/ 0 w 4"/>
                <a:gd name="T9" fmla="*/ 3 h 3"/>
                <a:gd name="T10" fmla="*/ 0 w 4"/>
                <a:gd name="T11" fmla="*/ 3 h 3"/>
                <a:gd name="T12" fmla="*/ 0 w 4"/>
                <a:gd name="T13" fmla="*/ 3 h 3"/>
                <a:gd name="T14" fmla="*/ 0 w 4"/>
                <a:gd name="T15" fmla="*/ 3 h 3"/>
                <a:gd name="T16" fmla="*/ 0 w 4"/>
                <a:gd name="T17" fmla="*/ 3 h 3"/>
                <a:gd name="T18" fmla="*/ 0 w 4"/>
                <a:gd name="T19" fmla="*/ 3 h 3"/>
                <a:gd name="T20" fmla="*/ 1 w 4"/>
                <a:gd name="T21" fmla="*/ 2 h 3"/>
                <a:gd name="T22" fmla="*/ 1 w 4"/>
                <a:gd name="T23" fmla="*/ 2 h 3"/>
                <a:gd name="T24" fmla="*/ 1 w 4"/>
                <a:gd name="T25" fmla="*/ 2 h 3"/>
                <a:gd name="T26" fmla="*/ 2 w 4"/>
                <a:gd name="T27" fmla="*/ 2 h 3"/>
                <a:gd name="T28" fmla="*/ 3 w 4"/>
                <a:gd name="T29" fmla="*/ 1 h 3"/>
                <a:gd name="T30" fmla="*/ 3 w 4"/>
                <a:gd name="T31" fmla="*/ 1 h 3"/>
                <a:gd name="T32" fmla="*/ 4 w 4"/>
                <a:gd name="T33" fmla="*/ 0 h 3"/>
                <a:gd name="T34" fmla="*/ 4 w 4"/>
                <a:gd name="T35" fmla="*/ 0 h 3"/>
                <a:gd name="T36" fmla="*/ 4 w 4"/>
                <a:gd name="T37" fmla="*/ 0 h 3"/>
                <a:gd name="T38" fmla="*/ 4 w 4"/>
                <a:gd name="T39" fmla="*/ 0 h 3"/>
                <a:gd name="T40" fmla="*/ 4 w 4"/>
                <a:gd name="T41" fmla="*/ 0 h 3"/>
                <a:gd name="T42" fmla="*/ 4 w 4"/>
                <a:gd name="T43" fmla="*/ 0 h 3"/>
                <a:gd name="T44" fmla="*/ 4 w 4"/>
                <a:gd name="T45" fmla="*/ 0 h 3"/>
                <a:gd name="T46" fmla="*/ 4 w 4"/>
                <a:gd name="T47" fmla="*/ 0 h 3"/>
                <a:gd name="T48" fmla="*/ 4 w 4"/>
                <a:gd name="T49" fmla="*/ 0 h 3"/>
                <a:gd name="T50" fmla="*/ 4 w 4"/>
                <a:gd name="T51" fmla="*/ 0 h 3"/>
                <a:gd name="T52" fmla="*/ 4 w 4"/>
                <a:gd name="T53" fmla="*/ 0 h 3"/>
                <a:gd name="T54" fmla="*/ 4 w 4"/>
                <a:gd name="T55" fmla="*/ 0 h 3"/>
                <a:gd name="T56" fmla="*/ 4 w 4"/>
                <a:gd name="T57" fmla="*/ 1 h 3"/>
                <a:gd name="T58" fmla="*/ 4 w 4"/>
                <a:gd name="T59" fmla="*/ 1 h 3"/>
                <a:gd name="T60" fmla="*/ 4 w 4"/>
                <a:gd name="T61" fmla="*/ 1 h 3"/>
                <a:gd name="T62" fmla="*/ 4 w 4"/>
                <a:gd name="T63" fmla="*/ 1 h 3"/>
                <a:gd name="T64" fmla="*/ 3 w 4"/>
                <a:gd name="T65" fmla="*/ 2 h 3"/>
                <a:gd name="T66" fmla="*/ 3 w 4"/>
                <a:gd name="T67" fmla="*/ 2 h 3"/>
                <a:gd name="T68" fmla="*/ 3 w 4"/>
                <a:gd name="T69" fmla="*/ 2 h 3"/>
                <a:gd name="T70" fmla="*/ 2 w 4"/>
                <a:gd name="T71" fmla="*/ 3 h 3"/>
                <a:gd name="T72" fmla="*/ 2 w 4"/>
                <a:gd name="T73" fmla="*/ 3 h 3"/>
                <a:gd name="T74" fmla="*/ 1 w 4"/>
                <a:gd name="T75" fmla="*/ 3 h 3"/>
                <a:gd name="T76" fmla="*/ 1 w 4"/>
                <a:gd name="T7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238">
              <a:extLst>
                <a:ext uri="{FF2B5EF4-FFF2-40B4-BE49-F238E27FC236}">
                  <a16:creationId xmlns:a16="http://schemas.microsoft.com/office/drawing/2014/main" id="{5E3E670F-0113-4DDD-9830-FFE21C1F2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755"/>
              <a:ext cx="51" cy="35"/>
            </a:xfrm>
            <a:custGeom>
              <a:avLst/>
              <a:gdLst>
                <a:gd name="T0" fmla="*/ 1 w 4"/>
                <a:gd name="T1" fmla="*/ 3 h 3"/>
                <a:gd name="T2" fmla="*/ 1 w 4"/>
                <a:gd name="T3" fmla="*/ 3 h 3"/>
                <a:gd name="T4" fmla="*/ 0 w 4"/>
                <a:gd name="T5" fmla="*/ 3 h 3"/>
                <a:gd name="T6" fmla="*/ 0 w 4"/>
                <a:gd name="T7" fmla="*/ 3 h 3"/>
                <a:gd name="T8" fmla="*/ 0 w 4"/>
                <a:gd name="T9" fmla="*/ 3 h 3"/>
                <a:gd name="T10" fmla="*/ 0 w 4"/>
                <a:gd name="T11" fmla="*/ 3 h 3"/>
                <a:gd name="T12" fmla="*/ 0 w 4"/>
                <a:gd name="T13" fmla="*/ 2 h 3"/>
                <a:gd name="T14" fmla="*/ 0 w 4"/>
                <a:gd name="T15" fmla="*/ 2 h 3"/>
                <a:gd name="T16" fmla="*/ 0 w 4"/>
                <a:gd name="T17" fmla="*/ 2 h 3"/>
                <a:gd name="T18" fmla="*/ 0 w 4"/>
                <a:gd name="T19" fmla="*/ 2 h 3"/>
                <a:gd name="T20" fmla="*/ 1 w 4"/>
                <a:gd name="T21" fmla="*/ 2 h 3"/>
                <a:gd name="T22" fmla="*/ 2 w 4"/>
                <a:gd name="T23" fmla="*/ 2 h 3"/>
                <a:gd name="T24" fmla="*/ 1 w 4"/>
                <a:gd name="T25" fmla="*/ 2 h 3"/>
                <a:gd name="T26" fmla="*/ 2 w 4"/>
                <a:gd name="T27" fmla="*/ 1 h 3"/>
                <a:gd name="T28" fmla="*/ 2 w 4"/>
                <a:gd name="T29" fmla="*/ 1 h 3"/>
                <a:gd name="T30" fmla="*/ 3 w 4"/>
                <a:gd name="T31" fmla="*/ 1 h 3"/>
                <a:gd name="T32" fmla="*/ 3 w 4"/>
                <a:gd name="T33" fmla="*/ 0 h 3"/>
                <a:gd name="T34" fmla="*/ 4 w 4"/>
                <a:gd name="T35" fmla="*/ 0 h 3"/>
                <a:gd name="T36" fmla="*/ 4 w 4"/>
                <a:gd name="T37" fmla="*/ 0 h 3"/>
                <a:gd name="T38" fmla="*/ 4 w 4"/>
                <a:gd name="T39" fmla="*/ 0 h 3"/>
                <a:gd name="T40" fmla="*/ 4 w 4"/>
                <a:gd name="T41" fmla="*/ 0 h 3"/>
                <a:gd name="T42" fmla="*/ 4 w 4"/>
                <a:gd name="T43" fmla="*/ 0 h 3"/>
                <a:gd name="T44" fmla="*/ 4 w 4"/>
                <a:gd name="T45" fmla="*/ 0 h 3"/>
                <a:gd name="T46" fmla="*/ 4 w 4"/>
                <a:gd name="T47" fmla="*/ 0 h 3"/>
                <a:gd name="T48" fmla="*/ 4 w 4"/>
                <a:gd name="T49" fmla="*/ 0 h 3"/>
                <a:gd name="T50" fmla="*/ 4 w 4"/>
                <a:gd name="T51" fmla="*/ 0 h 3"/>
                <a:gd name="T52" fmla="*/ 4 w 4"/>
                <a:gd name="T53" fmla="*/ 1 h 3"/>
                <a:gd name="T54" fmla="*/ 4 w 4"/>
                <a:gd name="T55" fmla="*/ 1 h 3"/>
                <a:gd name="T56" fmla="*/ 3 w 4"/>
                <a:gd name="T57" fmla="*/ 1 h 3"/>
                <a:gd name="T58" fmla="*/ 3 w 4"/>
                <a:gd name="T59" fmla="*/ 1 h 3"/>
                <a:gd name="T60" fmla="*/ 3 w 4"/>
                <a:gd name="T61" fmla="*/ 2 h 3"/>
                <a:gd name="T62" fmla="*/ 2 w 4"/>
                <a:gd name="T63" fmla="*/ 2 h 3"/>
                <a:gd name="T64" fmla="*/ 2 w 4"/>
                <a:gd name="T65" fmla="*/ 2 h 3"/>
                <a:gd name="T66" fmla="*/ 1 w 4"/>
                <a:gd name="T67" fmla="*/ 3 h 3"/>
                <a:gd name="T68" fmla="*/ 1 w 4"/>
                <a:gd name="T6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1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239">
              <a:extLst>
                <a:ext uri="{FF2B5EF4-FFF2-40B4-BE49-F238E27FC236}">
                  <a16:creationId xmlns:a16="http://schemas.microsoft.com/office/drawing/2014/main" id="{D0D86740-058F-425E-8258-CCB84F32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2755"/>
              <a:ext cx="26" cy="35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2 w 2"/>
                <a:gd name="T5" fmla="*/ 0 h 3"/>
                <a:gd name="T6" fmla="*/ 2 w 2"/>
                <a:gd name="T7" fmla="*/ 0 h 3"/>
                <a:gd name="T8" fmla="*/ 2 w 2"/>
                <a:gd name="T9" fmla="*/ 0 h 3"/>
                <a:gd name="T10" fmla="*/ 2 w 2"/>
                <a:gd name="T11" fmla="*/ 0 h 3"/>
                <a:gd name="T12" fmla="*/ 2 w 2"/>
                <a:gd name="T13" fmla="*/ 1 h 3"/>
                <a:gd name="T14" fmla="*/ 2 w 2"/>
                <a:gd name="T15" fmla="*/ 1 h 3"/>
                <a:gd name="T16" fmla="*/ 2 w 2"/>
                <a:gd name="T17" fmla="*/ 1 h 3"/>
                <a:gd name="T18" fmla="*/ 2 w 2"/>
                <a:gd name="T19" fmla="*/ 1 h 3"/>
                <a:gd name="T20" fmla="*/ 2 w 2"/>
                <a:gd name="T21" fmla="*/ 1 h 3"/>
                <a:gd name="T22" fmla="*/ 2 w 2"/>
                <a:gd name="T23" fmla="*/ 2 h 3"/>
                <a:gd name="T24" fmla="*/ 1 w 2"/>
                <a:gd name="T25" fmla="*/ 3 h 3"/>
                <a:gd name="T26" fmla="*/ 1 w 2"/>
                <a:gd name="T27" fmla="*/ 3 h 3"/>
                <a:gd name="T28" fmla="*/ 1 w 2"/>
                <a:gd name="T29" fmla="*/ 3 h 3"/>
                <a:gd name="T30" fmla="*/ 1 w 2"/>
                <a:gd name="T31" fmla="*/ 3 h 3"/>
                <a:gd name="T32" fmla="*/ 1 w 2"/>
                <a:gd name="T33" fmla="*/ 3 h 3"/>
                <a:gd name="T34" fmla="*/ 1 w 2"/>
                <a:gd name="T35" fmla="*/ 3 h 3"/>
                <a:gd name="T36" fmla="*/ 1 w 2"/>
                <a:gd name="T37" fmla="*/ 3 h 3"/>
                <a:gd name="T38" fmla="*/ 0 w 2"/>
                <a:gd name="T39" fmla="*/ 3 h 3"/>
                <a:gd name="T40" fmla="*/ 0 w 2"/>
                <a:gd name="T41" fmla="*/ 2 h 3"/>
                <a:gd name="T42" fmla="*/ 1 w 2"/>
                <a:gd name="T43" fmla="*/ 2 h 3"/>
                <a:gd name="T44" fmla="*/ 1 w 2"/>
                <a:gd name="T45" fmla="*/ 1 h 3"/>
                <a:gd name="T46" fmla="*/ 1 w 2"/>
                <a:gd name="T47" fmla="*/ 1 h 3"/>
                <a:gd name="T48" fmla="*/ 1 w 2"/>
                <a:gd name="T49" fmla="*/ 1 h 3"/>
                <a:gd name="T50" fmla="*/ 1 w 2"/>
                <a:gd name="T51" fmla="*/ 1 h 3"/>
                <a:gd name="T52" fmla="*/ 2 w 2"/>
                <a:gd name="T5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240">
              <a:extLst>
                <a:ext uri="{FF2B5EF4-FFF2-40B4-BE49-F238E27FC236}">
                  <a16:creationId xmlns:a16="http://schemas.microsoft.com/office/drawing/2014/main" id="{47BAA053-CFB4-4428-810D-5D918FA1F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" y="2743"/>
              <a:ext cx="13" cy="24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0 w 1"/>
                <a:gd name="T5" fmla="*/ 2 h 2"/>
                <a:gd name="T6" fmla="*/ 0 w 1"/>
                <a:gd name="T7" fmla="*/ 2 h 2"/>
                <a:gd name="T8" fmla="*/ 0 w 1"/>
                <a:gd name="T9" fmla="*/ 2 h 2"/>
                <a:gd name="T10" fmla="*/ 0 w 1"/>
                <a:gd name="T11" fmla="*/ 2 h 2"/>
                <a:gd name="T12" fmla="*/ 0 w 1"/>
                <a:gd name="T13" fmla="*/ 1 h 2"/>
                <a:gd name="T14" fmla="*/ 0 w 1"/>
                <a:gd name="T15" fmla="*/ 1 h 2"/>
                <a:gd name="T16" fmla="*/ 0 w 1"/>
                <a:gd name="T17" fmla="*/ 1 h 2"/>
                <a:gd name="T18" fmla="*/ 0 w 1"/>
                <a:gd name="T19" fmla="*/ 1 h 2"/>
                <a:gd name="T20" fmla="*/ 1 w 1"/>
                <a:gd name="T21" fmla="*/ 0 h 2"/>
                <a:gd name="T22" fmla="*/ 1 w 1"/>
                <a:gd name="T23" fmla="*/ 0 h 2"/>
                <a:gd name="T24" fmla="*/ 1 w 1"/>
                <a:gd name="T25" fmla="*/ 0 h 2"/>
                <a:gd name="T26" fmla="*/ 1 w 1"/>
                <a:gd name="T27" fmla="*/ 0 h 2"/>
                <a:gd name="T28" fmla="*/ 1 w 1"/>
                <a:gd name="T29" fmla="*/ 0 h 2"/>
                <a:gd name="T30" fmla="*/ 1 w 1"/>
                <a:gd name="T31" fmla="*/ 0 h 2"/>
                <a:gd name="T32" fmla="*/ 1 w 1"/>
                <a:gd name="T33" fmla="*/ 1 h 2"/>
                <a:gd name="T34" fmla="*/ 1 w 1"/>
                <a:gd name="T35" fmla="*/ 1 h 2"/>
                <a:gd name="T36" fmla="*/ 1 w 1"/>
                <a:gd name="T37" fmla="*/ 1 h 2"/>
                <a:gd name="T38" fmla="*/ 1 w 1"/>
                <a:gd name="T39" fmla="*/ 1 h 2"/>
                <a:gd name="T40" fmla="*/ 0 w 1"/>
                <a:gd name="T4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242">
              <a:extLst>
                <a:ext uri="{FF2B5EF4-FFF2-40B4-BE49-F238E27FC236}">
                  <a16:creationId xmlns:a16="http://schemas.microsoft.com/office/drawing/2014/main" id="{FCD635E6-9CC1-47D3-B3D0-CB63F43B3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" y="2495"/>
              <a:ext cx="12" cy="47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0 h 4"/>
                <a:gd name="T6" fmla="*/ 1 w 1"/>
                <a:gd name="T7" fmla="*/ 0 h 4"/>
                <a:gd name="T8" fmla="*/ 1 w 1"/>
                <a:gd name="T9" fmla="*/ 0 h 4"/>
                <a:gd name="T10" fmla="*/ 1 w 1"/>
                <a:gd name="T11" fmla="*/ 0 h 4"/>
                <a:gd name="T12" fmla="*/ 1 w 1"/>
                <a:gd name="T13" fmla="*/ 0 h 4"/>
                <a:gd name="T14" fmla="*/ 1 w 1"/>
                <a:gd name="T15" fmla="*/ 1 h 4"/>
                <a:gd name="T16" fmla="*/ 1 w 1"/>
                <a:gd name="T17" fmla="*/ 1 h 4"/>
                <a:gd name="T18" fmla="*/ 0 w 1"/>
                <a:gd name="T19" fmla="*/ 1 h 4"/>
                <a:gd name="T20" fmla="*/ 0 w 1"/>
                <a:gd name="T21" fmla="*/ 1 h 4"/>
                <a:gd name="T22" fmla="*/ 0 w 1"/>
                <a:gd name="T23" fmla="*/ 1 h 4"/>
                <a:gd name="T24" fmla="*/ 0 w 1"/>
                <a:gd name="T25" fmla="*/ 1 h 4"/>
                <a:gd name="T26" fmla="*/ 0 w 1"/>
                <a:gd name="T27" fmla="*/ 1 h 4"/>
                <a:gd name="T28" fmla="*/ 0 w 1"/>
                <a:gd name="T29" fmla="*/ 3 h 4"/>
                <a:gd name="T30" fmla="*/ 0 w 1"/>
                <a:gd name="T31" fmla="*/ 3 h 4"/>
                <a:gd name="T32" fmla="*/ 0 w 1"/>
                <a:gd name="T33" fmla="*/ 3 h 4"/>
                <a:gd name="T34" fmla="*/ 0 w 1"/>
                <a:gd name="T35" fmla="*/ 3 h 4"/>
                <a:gd name="T36" fmla="*/ 0 w 1"/>
                <a:gd name="T37" fmla="*/ 3 h 4"/>
                <a:gd name="T38" fmla="*/ 0 w 1"/>
                <a:gd name="T39" fmla="*/ 3 h 4"/>
                <a:gd name="T40" fmla="*/ 0 w 1"/>
                <a:gd name="T41" fmla="*/ 3 h 4"/>
                <a:gd name="T42" fmla="*/ 0 w 1"/>
                <a:gd name="T43" fmla="*/ 3 h 4"/>
                <a:gd name="T44" fmla="*/ 0 w 1"/>
                <a:gd name="T45" fmla="*/ 3 h 4"/>
                <a:gd name="T46" fmla="*/ 0 w 1"/>
                <a:gd name="T47" fmla="*/ 3 h 4"/>
                <a:gd name="T48" fmla="*/ 0 w 1"/>
                <a:gd name="T49" fmla="*/ 3 h 4"/>
                <a:gd name="T50" fmla="*/ 0 w 1"/>
                <a:gd name="T51" fmla="*/ 3 h 4"/>
                <a:gd name="T52" fmla="*/ 0 w 1"/>
                <a:gd name="T53" fmla="*/ 4 h 4"/>
                <a:gd name="T54" fmla="*/ 0 w 1"/>
                <a:gd name="T55" fmla="*/ 4 h 4"/>
                <a:gd name="T56" fmla="*/ 0 w 1"/>
                <a:gd name="T57" fmla="*/ 4 h 4"/>
                <a:gd name="T58" fmla="*/ 0 w 1"/>
                <a:gd name="T59" fmla="*/ 4 h 4"/>
                <a:gd name="T60" fmla="*/ 0 w 1"/>
                <a:gd name="T61" fmla="*/ 4 h 4"/>
                <a:gd name="T62" fmla="*/ 0 w 1"/>
                <a:gd name="T63" fmla="*/ 4 h 4"/>
                <a:gd name="T64" fmla="*/ 0 w 1"/>
                <a:gd name="T65" fmla="*/ 4 h 4"/>
                <a:gd name="T66" fmla="*/ 0 w 1"/>
                <a:gd name="T67" fmla="*/ 3 h 4"/>
                <a:gd name="T68" fmla="*/ 0 w 1"/>
                <a:gd name="T69" fmla="*/ 3 h 4"/>
                <a:gd name="T70" fmla="*/ 0 w 1"/>
                <a:gd name="T71" fmla="*/ 3 h 4"/>
                <a:gd name="T72" fmla="*/ 0 w 1"/>
                <a:gd name="T73" fmla="*/ 1 h 4"/>
                <a:gd name="T74" fmla="*/ 0 w 1"/>
                <a:gd name="T75" fmla="*/ 0 h 4"/>
                <a:gd name="T76" fmla="*/ 0 w 1"/>
                <a:gd name="T77" fmla="*/ 0 h 4"/>
                <a:gd name="T78" fmla="*/ 0 w 1"/>
                <a:gd name="T79" fmla="*/ 0 h 4"/>
                <a:gd name="T80" fmla="*/ 0 w 1"/>
                <a:gd name="T8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243">
              <a:extLst>
                <a:ext uri="{FF2B5EF4-FFF2-40B4-BE49-F238E27FC236}">
                  <a16:creationId xmlns:a16="http://schemas.microsoft.com/office/drawing/2014/main" id="{85D48E5F-D79A-4B42-8FF4-0326BFA34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507"/>
              <a:ext cx="26" cy="35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0 h 3"/>
                <a:gd name="T4" fmla="*/ 0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w 2"/>
                <a:gd name="T11" fmla="*/ 0 h 3"/>
                <a:gd name="T12" fmla="*/ 0 w 2"/>
                <a:gd name="T13" fmla="*/ 0 h 3"/>
                <a:gd name="T14" fmla="*/ 1 w 2"/>
                <a:gd name="T15" fmla="*/ 0 h 3"/>
                <a:gd name="T16" fmla="*/ 1 w 2"/>
                <a:gd name="T17" fmla="*/ 0 h 3"/>
                <a:gd name="T18" fmla="*/ 1 w 2"/>
                <a:gd name="T19" fmla="*/ 0 h 3"/>
                <a:gd name="T20" fmla="*/ 1 w 2"/>
                <a:gd name="T21" fmla="*/ 0 h 3"/>
                <a:gd name="T22" fmla="*/ 2 w 2"/>
                <a:gd name="T23" fmla="*/ 0 h 3"/>
                <a:gd name="T24" fmla="*/ 2 w 2"/>
                <a:gd name="T25" fmla="*/ 3 h 3"/>
                <a:gd name="T26" fmla="*/ 1 w 2"/>
                <a:gd name="T27" fmla="*/ 3 h 3"/>
                <a:gd name="T28" fmla="*/ 1 w 2"/>
                <a:gd name="T29" fmla="*/ 3 h 3"/>
                <a:gd name="T30" fmla="*/ 1 w 2"/>
                <a:gd name="T31" fmla="*/ 3 h 3"/>
                <a:gd name="T32" fmla="*/ 1 w 2"/>
                <a:gd name="T33" fmla="*/ 3 h 3"/>
                <a:gd name="T34" fmla="*/ 1 w 2"/>
                <a:gd name="T35" fmla="*/ 3 h 3"/>
                <a:gd name="T36" fmla="*/ 1 w 2"/>
                <a:gd name="T37" fmla="*/ 3 h 3"/>
                <a:gd name="T38" fmla="*/ 1 w 2"/>
                <a:gd name="T39" fmla="*/ 3 h 3"/>
                <a:gd name="T40" fmla="*/ 0 w 2"/>
                <a:gd name="T41" fmla="*/ 3 h 3"/>
                <a:gd name="T42" fmla="*/ 0 w 2"/>
                <a:gd name="T43" fmla="*/ 3 h 3"/>
                <a:gd name="T44" fmla="*/ 0 w 2"/>
                <a:gd name="T45" fmla="*/ 3 h 3"/>
                <a:gd name="T46" fmla="*/ 0 w 2"/>
                <a:gd name="T47" fmla="*/ 3 h 3"/>
                <a:gd name="T48" fmla="*/ 0 w 2"/>
                <a:gd name="T49" fmla="*/ 3 h 3"/>
                <a:gd name="T50" fmla="*/ 1 w 2"/>
                <a:gd name="T51" fmla="*/ 3 h 3"/>
                <a:gd name="T52" fmla="*/ 1 w 2"/>
                <a:gd name="T53" fmla="*/ 3 h 3"/>
                <a:gd name="T54" fmla="*/ 1 w 2"/>
                <a:gd name="T55" fmla="*/ 3 h 3"/>
                <a:gd name="T56" fmla="*/ 1 w 2"/>
                <a:gd name="T57" fmla="*/ 2 h 3"/>
                <a:gd name="T58" fmla="*/ 1 w 2"/>
                <a:gd name="T59" fmla="*/ 3 h 3"/>
                <a:gd name="T60" fmla="*/ 1 w 2"/>
                <a:gd name="T61" fmla="*/ 2 h 3"/>
                <a:gd name="T62" fmla="*/ 1 w 2"/>
                <a:gd name="T63" fmla="*/ 2 h 3"/>
                <a:gd name="T64" fmla="*/ 1 w 2"/>
                <a:gd name="T65" fmla="*/ 0 h 3"/>
                <a:gd name="T66" fmla="*/ 1 w 2"/>
                <a:gd name="T67" fmla="*/ 0 h 3"/>
                <a:gd name="T68" fmla="*/ 1 w 2"/>
                <a:gd name="T69" fmla="*/ 0 h 3"/>
                <a:gd name="T70" fmla="*/ 1 w 2"/>
                <a:gd name="T71" fmla="*/ 0 h 3"/>
                <a:gd name="T72" fmla="*/ 1 w 2"/>
                <a:gd name="T73" fmla="*/ 0 h 3"/>
                <a:gd name="T74" fmla="*/ 1 w 2"/>
                <a:gd name="T75" fmla="*/ 0 h 3"/>
                <a:gd name="T76" fmla="*/ 1 w 2"/>
                <a:gd name="T7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244">
              <a:extLst>
                <a:ext uri="{FF2B5EF4-FFF2-40B4-BE49-F238E27FC236}">
                  <a16:creationId xmlns:a16="http://schemas.microsoft.com/office/drawing/2014/main" id="{25543548-3DD8-49B3-82C5-D4A5BA8A8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011"/>
              <a:ext cx="101" cy="579"/>
            </a:xfrm>
            <a:custGeom>
              <a:avLst/>
              <a:gdLst>
                <a:gd name="T0" fmla="*/ 2 w 8"/>
                <a:gd name="T1" fmla="*/ 0 h 49"/>
                <a:gd name="T2" fmla="*/ 3 w 8"/>
                <a:gd name="T3" fmla="*/ 0 h 49"/>
                <a:gd name="T4" fmla="*/ 3 w 8"/>
                <a:gd name="T5" fmla="*/ 0 h 49"/>
                <a:gd name="T6" fmla="*/ 3 w 8"/>
                <a:gd name="T7" fmla="*/ 0 h 49"/>
                <a:gd name="T8" fmla="*/ 4 w 8"/>
                <a:gd name="T9" fmla="*/ 3 h 49"/>
                <a:gd name="T10" fmla="*/ 5 w 8"/>
                <a:gd name="T11" fmla="*/ 7 h 49"/>
                <a:gd name="T12" fmla="*/ 7 w 8"/>
                <a:gd name="T13" fmla="*/ 13 h 49"/>
                <a:gd name="T14" fmla="*/ 8 w 8"/>
                <a:gd name="T15" fmla="*/ 19 h 49"/>
                <a:gd name="T16" fmla="*/ 8 w 8"/>
                <a:gd name="T17" fmla="*/ 27 h 49"/>
                <a:gd name="T18" fmla="*/ 8 w 8"/>
                <a:gd name="T19" fmla="*/ 34 h 49"/>
                <a:gd name="T20" fmla="*/ 8 w 8"/>
                <a:gd name="T21" fmla="*/ 44 h 49"/>
                <a:gd name="T22" fmla="*/ 7 w 8"/>
                <a:gd name="T23" fmla="*/ 46 h 49"/>
                <a:gd name="T24" fmla="*/ 7 w 8"/>
                <a:gd name="T25" fmla="*/ 48 h 49"/>
                <a:gd name="T26" fmla="*/ 6 w 8"/>
                <a:gd name="T27" fmla="*/ 49 h 49"/>
                <a:gd name="T28" fmla="*/ 5 w 8"/>
                <a:gd name="T29" fmla="*/ 49 h 49"/>
                <a:gd name="T30" fmla="*/ 4 w 8"/>
                <a:gd name="T31" fmla="*/ 49 h 49"/>
                <a:gd name="T32" fmla="*/ 2 w 8"/>
                <a:gd name="T33" fmla="*/ 49 h 49"/>
                <a:gd name="T34" fmla="*/ 1 w 8"/>
                <a:gd name="T35" fmla="*/ 49 h 49"/>
                <a:gd name="T36" fmla="*/ 1 w 8"/>
                <a:gd name="T37" fmla="*/ 48 h 49"/>
                <a:gd name="T38" fmla="*/ 0 w 8"/>
                <a:gd name="T39" fmla="*/ 48 h 49"/>
                <a:gd name="T40" fmla="*/ 1 w 8"/>
                <a:gd name="T41" fmla="*/ 48 h 49"/>
                <a:gd name="T42" fmla="*/ 1 w 8"/>
                <a:gd name="T43" fmla="*/ 48 h 49"/>
                <a:gd name="T44" fmla="*/ 1 w 8"/>
                <a:gd name="T45" fmla="*/ 48 h 49"/>
                <a:gd name="T46" fmla="*/ 2 w 8"/>
                <a:gd name="T47" fmla="*/ 48 h 49"/>
                <a:gd name="T48" fmla="*/ 2 w 8"/>
                <a:gd name="T49" fmla="*/ 49 h 49"/>
                <a:gd name="T50" fmla="*/ 5 w 8"/>
                <a:gd name="T51" fmla="*/ 49 h 49"/>
                <a:gd name="T52" fmla="*/ 6 w 8"/>
                <a:gd name="T53" fmla="*/ 48 h 49"/>
                <a:gd name="T54" fmla="*/ 6 w 8"/>
                <a:gd name="T55" fmla="*/ 47 h 49"/>
                <a:gd name="T56" fmla="*/ 7 w 8"/>
                <a:gd name="T57" fmla="*/ 46 h 49"/>
                <a:gd name="T58" fmla="*/ 7 w 8"/>
                <a:gd name="T59" fmla="*/ 44 h 49"/>
                <a:gd name="T60" fmla="*/ 7 w 8"/>
                <a:gd name="T61" fmla="*/ 39 h 49"/>
                <a:gd name="T62" fmla="*/ 7 w 8"/>
                <a:gd name="T63" fmla="*/ 28 h 49"/>
                <a:gd name="T64" fmla="*/ 7 w 8"/>
                <a:gd name="T65" fmla="*/ 19 h 49"/>
                <a:gd name="T66" fmla="*/ 6 w 8"/>
                <a:gd name="T67" fmla="*/ 13 h 49"/>
                <a:gd name="T68" fmla="*/ 5 w 8"/>
                <a:gd name="T69" fmla="*/ 11 h 49"/>
                <a:gd name="T70" fmla="*/ 4 w 8"/>
                <a:gd name="T71" fmla="*/ 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49">
                  <a:moveTo>
                    <a:pt x="2" y="1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10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8" y="19"/>
                  </a:lnTo>
                  <a:lnTo>
                    <a:pt x="8" y="23"/>
                  </a:lnTo>
                  <a:lnTo>
                    <a:pt x="8" y="2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9"/>
                  </a:lnTo>
                  <a:lnTo>
                    <a:pt x="8" y="44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4"/>
                  </a:lnTo>
                  <a:lnTo>
                    <a:pt x="7" y="28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7"/>
                  </a:lnTo>
                  <a:lnTo>
                    <a:pt x="4" y="4"/>
                  </a:lnTo>
                  <a:lnTo>
                    <a:pt x="2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245">
              <a:extLst>
                <a:ext uri="{FF2B5EF4-FFF2-40B4-BE49-F238E27FC236}">
                  <a16:creationId xmlns:a16="http://schemas.microsoft.com/office/drawing/2014/main" id="{A49BA035-B247-4D1B-A965-7C2FDD9A3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295"/>
              <a:ext cx="101" cy="47"/>
            </a:xfrm>
            <a:custGeom>
              <a:avLst/>
              <a:gdLst>
                <a:gd name="T0" fmla="*/ 0 w 8"/>
                <a:gd name="T1" fmla="*/ 1 h 4"/>
                <a:gd name="T2" fmla="*/ 0 w 8"/>
                <a:gd name="T3" fmla="*/ 1 h 4"/>
                <a:gd name="T4" fmla="*/ 0 w 8"/>
                <a:gd name="T5" fmla="*/ 1 h 4"/>
                <a:gd name="T6" fmla="*/ 0 w 8"/>
                <a:gd name="T7" fmla="*/ 1 h 4"/>
                <a:gd name="T8" fmla="*/ 0 w 8"/>
                <a:gd name="T9" fmla="*/ 0 h 4"/>
                <a:gd name="T10" fmla="*/ 0 w 8"/>
                <a:gd name="T11" fmla="*/ 0 h 4"/>
                <a:gd name="T12" fmla="*/ 0 w 8"/>
                <a:gd name="T13" fmla="*/ 0 h 4"/>
                <a:gd name="T14" fmla="*/ 0 w 8"/>
                <a:gd name="T15" fmla="*/ 0 h 4"/>
                <a:gd name="T16" fmla="*/ 2 w 8"/>
                <a:gd name="T17" fmla="*/ 1 h 4"/>
                <a:gd name="T18" fmla="*/ 2 w 8"/>
                <a:gd name="T19" fmla="*/ 1 h 4"/>
                <a:gd name="T20" fmla="*/ 3 w 8"/>
                <a:gd name="T21" fmla="*/ 1 h 4"/>
                <a:gd name="T22" fmla="*/ 4 w 8"/>
                <a:gd name="T23" fmla="*/ 2 h 4"/>
                <a:gd name="T24" fmla="*/ 4 w 8"/>
                <a:gd name="T25" fmla="*/ 2 h 4"/>
                <a:gd name="T26" fmla="*/ 5 w 8"/>
                <a:gd name="T27" fmla="*/ 2 h 4"/>
                <a:gd name="T28" fmla="*/ 6 w 8"/>
                <a:gd name="T29" fmla="*/ 3 h 4"/>
                <a:gd name="T30" fmla="*/ 7 w 8"/>
                <a:gd name="T31" fmla="*/ 3 h 4"/>
                <a:gd name="T32" fmla="*/ 7 w 8"/>
                <a:gd name="T33" fmla="*/ 3 h 4"/>
                <a:gd name="T34" fmla="*/ 8 w 8"/>
                <a:gd name="T35" fmla="*/ 3 h 4"/>
                <a:gd name="T36" fmla="*/ 8 w 8"/>
                <a:gd name="T37" fmla="*/ 3 h 4"/>
                <a:gd name="T38" fmla="*/ 8 w 8"/>
                <a:gd name="T39" fmla="*/ 3 h 4"/>
                <a:gd name="T40" fmla="*/ 8 w 8"/>
                <a:gd name="T41" fmla="*/ 3 h 4"/>
                <a:gd name="T42" fmla="*/ 8 w 8"/>
                <a:gd name="T43" fmla="*/ 3 h 4"/>
                <a:gd name="T44" fmla="*/ 8 w 8"/>
                <a:gd name="T45" fmla="*/ 3 h 4"/>
                <a:gd name="T46" fmla="*/ 8 w 8"/>
                <a:gd name="T47" fmla="*/ 4 h 4"/>
                <a:gd name="T48" fmla="*/ 8 w 8"/>
                <a:gd name="T49" fmla="*/ 4 h 4"/>
                <a:gd name="T50" fmla="*/ 8 w 8"/>
                <a:gd name="T51" fmla="*/ 4 h 4"/>
                <a:gd name="T52" fmla="*/ 8 w 8"/>
                <a:gd name="T53" fmla="*/ 4 h 4"/>
                <a:gd name="T54" fmla="*/ 7 w 8"/>
                <a:gd name="T55" fmla="*/ 4 h 4"/>
                <a:gd name="T56" fmla="*/ 7 w 8"/>
                <a:gd name="T57" fmla="*/ 4 h 4"/>
                <a:gd name="T58" fmla="*/ 7 w 8"/>
                <a:gd name="T59" fmla="*/ 4 h 4"/>
                <a:gd name="T60" fmla="*/ 6 w 8"/>
                <a:gd name="T61" fmla="*/ 3 h 4"/>
                <a:gd name="T62" fmla="*/ 6 w 8"/>
                <a:gd name="T63" fmla="*/ 3 h 4"/>
                <a:gd name="T64" fmla="*/ 5 w 8"/>
                <a:gd name="T65" fmla="*/ 3 h 4"/>
                <a:gd name="T66" fmla="*/ 4 w 8"/>
                <a:gd name="T67" fmla="*/ 2 h 4"/>
                <a:gd name="T68" fmla="*/ 2 w 8"/>
                <a:gd name="T69" fmla="*/ 2 h 4"/>
                <a:gd name="T70" fmla="*/ 3 w 8"/>
                <a:gd name="T71" fmla="*/ 2 h 4"/>
                <a:gd name="T72" fmla="*/ 2 w 8"/>
                <a:gd name="T73" fmla="*/ 2 h 4"/>
                <a:gd name="T74" fmla="*/ 2 w 8"/>
                <a:gd name="T75" fmla="*/ 2 h 4"/>
                <a:gd name="T76" fmla="*/ 0 w 8"/>
                <a:gd name="T7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" h="4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3"/>
                  </a:lnTo>
                  <a:lnTo>
                    <a:pt x="4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246">
              <a:extLst>
                <a:ext uri="{FF2B5EF4-FFF2-40B4-BE49-F238E27FC236}">
                  <a16:creationId xmlns:a16="http://schemas.microsoft.com/office/drawing/2014/main" id="{E7E11246-3033-4461-8F26-363C32970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283"/>
              <a:ext cx="12" cy="59"/>
            </a:xfrm>
            <a:custGeom>
              <a:avLst/>
              <a:gdLst>
                <a:gd name="T0" fmla="*/ 0 w 1"/>
                <a:gd name="T1" fmla="*/ 1 h 5"/>
                <a:gd name="T2" fmla="*/ 0 w 1"/>
                <a:gd name="T3" fmla="*/ 0 h 5"/>
                <a:gd name="T4" fmla="*/ 1 w 1"/>
                <a:gd name="T5" fmla="*/ 0 h 5"/>
                <a:gd name="T6" fmla="*/ 1 w 1"/>
                <a:gd name="T7" fmla="*/ 0 h 5"/>
                <a:gd name="T8" fmla="*/ 1 w 1"/>
                <a:gd name="T9" fmla="*/ 0 h 5"/>
                <a:gd name="T10" fmla="*/ 1 w 1"/>
                <a:gd name="T11" fmla="*/ 0 h 5"/>
                <a:gd name="T12" fmla="*/ 1 w 1"/>
                <a:gd name="T13" fmla="*/ 1 h 5"/>
                <a:gd name="T14" fmla="*/ 1 w 1"/>
                <a:gd name="T15" fmla="*/ 1 h 5"/>
                <a:gd name="T16" fmla="*/ 1 w 1"/>
                <a:gd name="T17" fmla="*/ 3 h 5"/>
                <a:gd name="T18" fmla="*/ 1 w 1"/>
                <a:gd name="T19" fmla="*/ 3 h 5"/>
                <a:gd name="T20" fmla="*/ 1 w 1"/>
                <a:gd name="T21" fmla="*/ 4 h 5"/>
                <a:gd name="T22" fmla="*/ 1 w 1"/>
                <a:gd name="T23" fmla="*/ 4 h 5"/>
                <a:gd name="T24" fmla="*/ 1 w 1"/>
                <a:gd name="T25" fmla="*/ 4 h 5"/>
                <a:gd name="T26" fmla="*/ 1 w 1"/>
                <a:gd name="T27" fmla="*/ 4 h 5"/>
                <a:gd name="T28" fmla="*/ 1 w 1"/>
                <a:gd name="T29" fmla="*/ 5 h 5"/>
                <a:gd name="T30" fmla="*/ 1 w 1"/>
                <a:gd name="T31" fmla="*/ 5 h 5"/>
                <a:gd name="T32" fmla="*/ 1 w 1"/>
                <a:gd name="T33" fmla="*/ 5 h 5"/>
                <a:gd name="T34" fmla="*/ 1 w 1"/>
                <a:gd name="T35" fmla="*/ 5 h 5"/>
                <a:gd name="T36" fmla="*/ 1 w 1"/>
                <a:gd name="T37" fmla="*/ 5 h 5"/>
                <a:gd name="T38" fmla="*/ 1 w 1"/>
                <a:gd name="T39" fmla="*/ 5 h 5"/>
                <a:gd name="T40" fmla="*/ 0 w 1"/>
                <a:gd name="T41" fmla="*/ 4 h 5"/>
                <a:gd name="T42" fmla="*/ 0 w 1"/>
                <a:gd name="T43" fmla="*/ 4 h 5"/>
                <a:gd name="T44" fmla="*/ 0 w 1"/>
                <a:gd name="T45" fmla="*/ 3 h 5"/>
                <a:gd name="T46" fmla="*/ 0 w 1"/>
                <a:gd name="T4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" h="5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247">
              <a:extLst>
                <a:ext uri="{FF2B5EF4-FFF2-40B4-BE49-F238E27FC236}">
                  <a16:creationId xmlns:a16="http://schemas.microsoft.com/office/drawing/2014/main" id="{50B4C9E4-D52D-4624-8093-45CE7DA3F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330"/>
              <a:ext cx="64" cy="248"/>
            </a:xfrm>
            <a:custGeom>
              <a:avLst/>
              <a:gdLst>
                <a:gd name="T0" fmla="*/ 0 w 5"/>
                <a:gd name="T1" fmla="*/ 0 h 21"/>
                <a:gd name="T2" fmla="*/ 1 w 5"/>
                <a:gd name="T3" fmla="*/ 0 h 21"/>
                <a:gd name="T4" fmla="*/ 1 w 5"/>
                <a:gd name="T5" fmla="*/ 0 h 21"/>
                <a:gd name="T6" fmla="*/ 1 w 5"/>
                <a:gd name="T7" fmla="*/ 0 h 21"/>
                <a:gd name="T8" fmla="*/ 1 w 5"/>
                <a:gd name="T9" fmla="*/ 3 h 21"/>
                <a:gd name="T10" fmla="*/ 2 w 5"/>
                <a:gd name="T11" fmla="*/ 10 h 21"/>
                <a:gd name="T12" fmla="*/ 2 w 5"/>
                <a:gd name="T13" fmla="*/ 13 h 21"/>
                <a:gd name="T14" fmla="*/ 2 w 5"/>
                <a:gd name="T15" fmla="*/ 18 h 21"/>
                <a:gd name="T16" fmla="*/ 2 w 5"/>
                <a:gd name="T17" fmla="*/ 20 h 21"/>
                <a:gd name="T18" fmla="*/ 3 w 5"/>
                <a:gd name="T19" fmla="*/ 20 h 21"/>
                <a:gd name="T20" fmla="*/ 3 w 5"/>
                <a:gd name="T21" fmla="*/ 20 h 21"/>
                <a:gd name="T22" fmla="*/ 4 w 5"/>
                <a:gd name="T23" fmla="*/ 19 h 21"/>
                <a:gd name="T24" fmla="*/ 4 w 5"/>
                <a:gd name="T25" fmla="*/ 19 h 21"/>
                <a:gd name="T26" fmla="*/ 4 w 5"/>
                <a:gd name="T27" fmla="*/ 18 h 21"/>
                <a:gd name="T28" fmla="*/ 4 w 5"/>
                <a:gd name="T29" fmla="*/ 17 h 21"/>
                <a:gd name="T30" fmla="*/ 5 w 5"/>
                <a:gd name="T31" fmla="*/ 13 h 21"/>
                <a:gd name="T32" fmla="*/ 5 w 5"/>
                <a:gd name="T33" fmla="*/ 6 h 21"/>
                <a:gd name="T34" fmla="*/ 4 w 5"/>
                <a:gd name="T35" fmla="*/ 2 h 21"/>
                <a:gd name="T36" fmla="*/ 3 w 5"/>
                <a:gd name="T37" fmla="*/ 2 h 21"/>
                <a:gd name="T38" fmla="*/ 1 w 5"/>
                <a:gd name="T39" fmla="*/ 1 h 21"/>
                <a:gd name="T40" fmla="*/ 1 w 5"/>
                <a:gd name="T41" fmla="*/ 0 h 21"/>
                <a:gd name="T42" fmla="*/ 0 w 5"/>
                <a:gd name="T43" fmla="*/ 0 h 21"/>
                <a:gd name="T44" fmla="*/ 1 w 5"/>
                <a:gd name="T45" fmla="*/ 0 h 21"/>
                <a:gd name="T46" fmla="*/ 2 w 5"/>
                <a:gd name="T47" fmla="*/ 0 h 21"/>
                <a:gd name="T48" fmla="*/ 3 w 5"/>
                <a:gd name="T49" fmla="*/ 1 h 21"/>
                <a:gd name="T50" fmla="*/ 4 w 5"/>
                <a:gd name="T51" fmla="*/ 1 h 21"/>
                <a:gd name="T52" fmla="*/ 5 w 5"/>
                <a:gd name="T53" fmla="*/ 2 h 21"/>
                <a:gd name="T54" fmla="*/ 5 w 5"/>
                <a:gd name="T55" fmla="*/ 2 h 21"/>
                <a:gd name="T56" fmla="*/ 5 w 5"/>
                <a:gd name="T57" fmla="*/ 4 h 21"/>
                <a:gd name="T58" fmla="*/ 5 w 5"/>
                <a:gd name="T59" fmla="*/ 13 h 21"/>
                <a:gd name="T60" fmla="*/ 5 w 5"/>
                <a:gd name="T61" fmla="*/ 17 h 21"/>
                <a:gd name="T62" fmla="*/ 5 w 5"/>
                <a:gd name="T63" fmla="*/ 19 h 21"/>
                <a:gd name="T64" fmla="*/ 4 w 5"/>
                <a:gd name="T65" fmla="*/ 20 h 21"/>
                <a:gd name="T66" fmla="*/ 4 w 5"/>
                <a:gd name="T67" fmla="*/ 20 h 21"/>
                <a:gd name="T68" fmla="*/ 4 w 5"/>
                <a:gd name="T69" fmla="*/ 20 h 21"/>
                <a:gd name="T70" fmla="*/ 3 w 5"/>
                <a:gd name="T71" fmla="*/ 21 h 21"/>
                <a:gd name="T72" fmla="*/ 2 w 5"/>
                <a:gd name="T73" fmla="*/ 21 h 21"/>
                <a:gd name="T74" fmla="*/ 2 w 5"/>
                <a:gd name="T75" fmla="*/ 21 h 21"/>
                <a:gd name="T76" fmla="*/ 2 w 5"/>
                <a:gd name="T77" fmla="*/ 21 h 21"/>
                <a:gd name="T78" fmla="*/ 1 w 5"/>
                <a:gd name="T79" fmla="*/ 18 h 21"/>
                <a:gd name="T80" fmla="*/ 1 w 5"/>
                <a:gd name="T81" fmla="*/ 13 h 21"/>
                <a:gd name="T82" fmla="*/ 1 w 5"/>
                <a:gd name="T8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" h="2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6"/>
                  </a:lnTo>
                  <a:lnTo>
                    <a:pt x="5" y="4"/>
                  </a:lnTo>
                  <a:lnTo>
                    <a:pt x="4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13"/>
                  </a:lnTo>
                  <a:lnTo>
                    <a:pt x="5" y="15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1" y="18"/>
                  </a:lnTo>
                  <a:lnTo>
                    <a:pt x="1" y="16"/>
                  </a:lnTo>
                  <a:lnTo>
                    <a:pt x="1" y="13"/>
                  </a:lnTo>
                  <a:lnTo>
                    <a:pt x="1" y="10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248">
              <a:extLst>
                <a:ext uri="{FF2B5EF4-FFF2-40B4-BE49-F238E27FC236}">
                  <a16:creationId xmlns:a16="http://schemas.microsoft.com/office/drawing/2014/main" id="{E0E2E50B-F853-400D-A308-D96856201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507"/>
              <a:ext cx="52" cy="24"/>
            </a:xfrm>
            <a:custGeom>
              <a:avLst/>
              <a:gdLst>
                <a:gd name="T0" fmla="*/ 0 w 4"/>
                <a:gd name="T1" fmla="*/ 1 h 2"/>
                <a:gd name="T2" fmla="*/ 0 w 4"/>
                <a:gd name="T3" fmla="*/ 1 h 2"/>
                <a:gd name="T4" fmla="*/ 0 w 4"/>
                <a:gd name="T5" fmla="*/ 1 h 2"/>
                <a:gd name="T6" fmla="*/ 0 w 4"/>
                <a:gd name="T7" fmla="*/ 1 h 2"/>
                <a:gd name="T8" fmla="*/ 0 w 4"/>
                <a:gd name="T9" fmla="*/ 0 h 2"/>
                <a:gd name="T10" fmla="*/ 0 w 4"/>
                <a:gd name="T11" fmla="*/ 0 h 2"/>
                <a:gd name="T12" fmla="*/ 0 w 4"/>
                <a:gd name="T13" fmla="*/ 0 h 2"/>
                <a:gd name="T14" fmla="*/ 1 w 4"/>
                <a:gd name="T15" fmla="*/ 0 h 2"/>
                <a:gd name="T16" fmla="*/ 2 w 4"/>
                <a:gd name="T17" fmla="*/ 1 h 2"/>
                <a:gd name="T18" fmla="*/ 3 w 4"/>
                <a:gd name="T19" fmla="*/ 1 h 2"/>
                <a:gd name="T20" fmla="*/ 3 w 4"/>
                <a:gd name="T21" fmla="*/ 1 h 2"/>
                <a:gd name="T22" fmla="*/ 4 w 4"/>
                <a:gd name="T23" fmla="*/ 1 h 2"/>
                <a:gd name="T24" fmla="*/ 4 w 4"/>
                <a:gd name="T25" fmla="*/ 1 h 2"/>
                <a:gd name="T26" fmla="*/ 4 w 4"/>
                <a:gd name="T27" fmla="*/ 2 h 2"/>
                <a:gd name="T28" fmla="*/ 4 w 4"/>
                <a:gd name="T29" fmla="*/ 2 h 2"/>
                <a:gd name="T30" fmla="*/ 4 w 4"/>
                <a:gd name="T31" fmla="*/ 2 h 2"/>
                <a:gd name="T32" fmla="*/ 4 w 4"/>
                <a:gd name="T33" fmla="*/ 2 h 2"/>
                <a:gd name="T34" fmla="*/ 4 w 4"/>
                <a:gd name="T35" fmla="*/ 2 h 2"/>
                <a:gd name="T36" fmla="*/ 4 w 4"/>
                <a:gd name="T37" fmla="*/ 2 h 2"/>
                <a:gd name="T38" fmla="*/ 4 w 4"/>
                <a:gd name="T39" fmla="*/ 2 h 2"/>
                <a:gd name="T40" fmla="*/ 4 w 4"/>
                <a:gd name="T41" fmla="*/ 2 h 2"/>
                <a:gd name="T42" fmla="*/ 4 w 4"/>
                <a:gd name="T43" fmla="*/ 2 h 2"/>
                <a:gd name="T44" fmla="*/ 4 w 4"/>
                <a:gd name="T45" fmla="*/ 2 h 2"/>
                <a:gd name="T46" fmla="*/ 4 w 4"/>
                <a:gd name="T47" fmla="*/ 2 h 2"/>
                <a:gd name="T48" fmla="*/ 3 w 4"/>
                <a:gd name="T49" fmla="*/ 2 h 2"/>
                <a:gd name="T50" fmla="*/ 2 w 4"/>
                <a:gd name="T51" fmla="*/ 2 h 2"/>
                <a:gd name="T52" fmla="*/ 1 w 4"/>
                <a:gd name="T53" fmla="*/ 1 h 2"/>
                <a:gd name="T54" fmla="*/ 0 w 4"/>
                <a:gd name="T5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249">
              <a:extLst>
                <a:ext uri="{FF2B5EF4-FFF2-40B4-BE49-F238E27FC236}">
                  <a16:creationId xmlns:a16="http://schemas.microsoft.com/office/drawing/2014/main" id="{FC1926FB-14B6-4D61-A9F0-5032442B5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2519"/>
              <a:ext cx="52" cy="23"/>
            </a:xfrm>
            <a:custGeom>
              <a:avLst/>
              <a:gdLst>
                <a:gd name="T0" fmla="*/ 0 w 4"/>
                <a:gd name="T1" fmla="*/ 0 h 2"/>
                <a:gd name="T2" fmla="*/ 0 w 4"/>
                <a:gd name="T3" fmla="*/ 0 h 2"/>
                <a:gd name="T4" fmla="*/ 0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1 w 4"/>
                <a:gd name="T11" fmla="*/ 0 h 2"/>
                <a:gd name="T12" fmla="*/ 2 w 4"/>
                <a:gd name="T13" fmla="*/ 0 h 2"/>
                <a:gd name="T14" fmla="*/ 3 w 4"/>
                <a:gd name="T15" fmla="*/ 1 h 2"/>
                <a:gd name="T16" fmla="*/ 4 w 4"/>
                <a:gd name="T17" fmla="*/ 1 h 2"/>
                <a:gd name="T18" fmla="*/ 4 w 4"/>
                <a:gd name="T19" fmla="*/ 1 h 2"/>
                <a:gd name="T20" fmla="*/ 4 w 4"/>
                <a:gd name="T21" fmla="*/ 1 h 2"/>
                <a:gd name="T22" fmla="*/ 4 w 4"/>
                <a:gd name="T23" fmla="*/ 1 h 2"/>
                <a:gd name="T24" fmla="*/ 4 w 4"/>
                <a:gd name="T25" fmla="*/ 1 h 2"/>
                <a:gd name="T26" fmla="*/ 4 w 4"/>
                <a:gd name="T27" fmla="*/ 1 h 2"/>
                <a:gd name="T28" fmla="*/ 4 w 4"/>
                <a:gd name="T29" fmla="*/ 1 h 2"/>
                <a:gd name="T30" fmla="*/ 4 w 4"/>
                <a:gd name="T31" fmla="*/ 2 h 2"/>
                <a:gd name="T32" fmla="*/ 4 w 4"/>
                <a:gd name="T33" fmla="*/ 2 h 2"/>
                <a:gd name="T34" fmla="*/ 4 w 4"/>
                <a:gd name="T35" fmla="*/ 2 h 2"/>
                <a:gd name="T36" fmla="*/ 4 w 4"/>
                <a:gd name="T37" fmla="*/ 2 h 2"/>
                <a:gd name="T38" fmla="*/ 4 w 4"/>
                <a:gd name="T39" fmla="*/ 2 h 2"/>
                <a:gd name="T40" fmla="*/ 3 w 4"/>
                <a:gd name="T41" fmla="*/ 2 h 2"/>
                <a:gd name="T42" fmla="*/ 3 w 4"/>
                <a:gd name="T43" fmla="*/ 1 h 2"/>
                <a:gd name="T44" fmla="*/ 2 w 4"/>
                <a:gd name="T45" fmla="*/ 1 h 2"/>
                <a:gd name="T46" fmla="*/ 0 w 4"/>
                <a:gd name="T4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250">
              <a:extLst>
                <a:ext uri="{FF2B5EF4-FFF2-40B4-BE49-F238E27FC236}">
                  <a16:creationId xmlns:a16="http://schemas.microsoft.com/office/drawing/2014/main" id="{E1817FC6-A611-4AF1-B4A7-81B3C186B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59"/>
              <a:ext cx="64" cy="259"/>
            </a:xfrm>
            <a:custGeom>
              <a:avLst/>
              <a:gdLst>
                <a:gd name="T0" fmla="*/ 0 w 5"/>
                <a:gd name="T1" fmla="*/ 1 h 22"/>
                <a:gd name="T2" fmla="*/ 1 w 5"/>
                <a:gd name="T3" fmla="*/ 0 h 22"/>
                <a:gd name="T4" fmla="*/ 1 w 5"/>
                <a:gd name="T5" fmla="*/ 1 h 22"/>
                <a:gd name="T6" fmla="*/ 1 w 5"/>
                <a:gd name="T7" fmla="*/ 1 h 22"/>
                <a:gd name="T8" fmla="*/ 1 w 5"/>
                <a:gd name="T9" fmla="*/ 12 h 22"/>
                <a:gd name="T10" fmla="*/ 1 w 5"/>
                <a:gd name="T11" fmla="*/ 19 h 22"/>
                <a:gd name="T12" fmla="*/ 3 w 5"/>
                <a:gd name="T13" fmla="*/ 21 h 22"/>
                <a:gd name="T14" fmla="*/ 5 w 5"/>
                <a:gd name="T15" fmla="*/ 21 h 22"/>
                <a:gd name="T16" fmla="*/ 5 w 5"/>
                <a:gd name="T17" fmla="*/ 21 h 22"/>
                <a:gd name="T18" fmla="*/ 4 w 5"/>
                <a:gd name="T19" fmla="*/ 19 h 22"/>
                <a:gd name="T20" fmla="*/ 4 w 5"/>
                <a:gd name="T21" fmla="*/ 12 h 22"/>
                <a:gd name="T22" fmla="*/ 3 w 5"/>
                <a:gd name="T23" fmla="*/ 6 h 22"/>
                <a:gd name="T24" fmla="*/ 2 w 5"/>
                <a:gd name="T25" fmla="*/ 4 h 22"/>
                <a:gd name="T26" fmla="*/ 1 w 5"/>
                <a:gd name="T27" fmla="*/ 1 h 22"/>
                <a:gd name="T28" fmla="*/ 1 w 5"/>
                <a:gd name="T29" fmla="*/ 1 h 22"/>
                <a:gd name="T30" fmla="*/ 1 w 5"/>
                <a:gd name="T31" fmla="*/ 1 h 22"/>
                <a:gd name="T32" fmla="*/ 0 w 5"/>
                <a:gd name="T33" fmla="*/ 1 h 22"/>
                <a:gd name="T34" fmla="*/ 0 w 5"/>
                <a:gd name="T35" fmla="*/ 1 h 22"/>
                <a:gd name="T36" fmla="*/ 0 w 5"/>
                <a:gd name="T37" fmla="*/ 1 h 22"/>
                <a:gd name="T38" fmla="*/ 0 w 5"/>
                <a:gd name="T39" fmla="*/ 0 h 22"/>
                <a:gd name="T40" fmla="*/ 1 w 5"/>
                <a:gd name="T41" fmla="*/ 0 h 22"/>
                <a:gd name="T42" fmla="*/ 1 w 5"/>
                <a:gd name="T43" fmla="*/ 0 h 22"/>
                <a:gd name="T44" fmla="*/ 2 w 5"/>
                <a:gd name="T45" fmla="*/ 1 h 22"/>
                <a:gd name="T46" fmla="*/ 2 w 5"/>
                <a:gd name="T47" fmla="*/ 1 h 22"/>
                <a:gd name="T48" fmla="*/ 2 w 5"/>
                <a:gd name="T49" fmla="*/ 2 h 22"/>
                <a:gd name="T50" fmla="*/ 3 w 5"/>
                <a:gd name="T51" fmla="*/ 4 h 22"/>
                <a:gd name="T52" fmla="*/ 3 w 5"/>
                <a:gd name="T53" fmla="*/ 6 h 22"/>
                <a:gd name="T54" fmla="*/ 4 w 5"/>
                <a:gd name="T55" fmla="*/ 12 h 22"/>
                <a:gd name="T56" fmla="*/ 5 w 5"/>
                <a:gd name="T57" fmla="*/ 18 h 22"/>
                <a:gd name="T58" fmla="*/ 5 w 5"/>
                <a:gd name="T59" fmla="*/ 22 h 22"/>
                <a:gd name="T60" fmla="*/ 5 w 5"/>
                <a:gd name="T61" fmla="*/ 22 h 22"/>
                <a:gd name="T62" fmla="*/ 5 w 5"/>
                <a:gd name="T63" fmla="*/ 22 h 22"/>
                <a:gd name="T64" fmla="*/ 4 w 5"/>
                <a:gd name="T65" fmla="*/ 22 h 22"/>
                <a:gd name="T66" fmla="*/ 4 w 5"/>
                <a:gd name="T67" fmla="*/ 22 h 22"/>
                <a:gd name="T68" fmla="*/ 3 w 5"/>
                <a:gd name="T69" fmla="*/ 21 h 22"/>
                <a:gd name="T70" fmla="*/ 2 w 5"/>
                <a:gd name="T71" fmla="*/ 21 h 22"/>
                <a:gd name="T72" fmla="*/ 0 w 5"/>
                <a:gd name="T73" fmla="*/ 20 h 22"/>
                <a:gd name="T74" fmla="*/ 0 w 5"/>
                <a:gd name="T75" fmla="*/ 20 h 22"/>
                <a:gd name="T76" fmla="*/ 0 w 5"/>
                <a:gd name="T7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" h="22">
                  <a:moveTo>
                    <a:pt x="0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6"/>
                  </a:lnTo>
                  <a:lnTo>
                    <a:pt x="1" y="12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2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6"/>
                  </a:lnTo>
                  <a:lnTo>
                    <a:pt x="4" y="9"/>
                  </a:lnTo>
                  <a:lnTo>
                    <a:pt x="4" y="12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251">
              <a:extLst>
                <a:ext uri="{FF2B5EF4-FFF2-40B4-BE49-F238E27FC236}">
                  <a16:creationId xmlns:a16="http://schemas.microsoft.com/office/drawing/2014/main" id="{D1CB738B-1C6D-46C4-8A21-E34492939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2247"/>
              <a:ext cx="13" cy="48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0 h 4"/>
                <a:gd name="T6" fmla="*/ 0 w 1"/>
                <a:gd name="T7" fmla="*/ 0 h 4"/>
                <a:gd name="T8" fmla="*/ 0 w 1"/>
                <a:gd name="T9" fmla="*/ 0 h 4"/>
                <a:gd name="T10" fmla="*/ 0 w 1"/>
                <a:gd name="T11" fmla="*/ 0 h 4"/>
                <a:gd name="T12" fmla="*/ 0 w 1"/>
                <a:gd name="T13" fmla="*/ 0 h 4"/>
                <a:gd name="T14" fmla="*/ 1 w 1"/>
                <a:gd name="T15" fmla="*/ 0 h 4"/>
                <a:gd name="T16" fmla="*/ 1 w 1"/>
                <a:gd name="T17" fmla="*/ 0 h 4"/>
                <a:gd name="T18" fmla="*/ 1 w 1"/>
                <a:gd name="T19" fmla="*/ 0 h 4"/>
                <a:gd name="T20" fmla="*/ 1 w 1"/>
                <a:gd name="T21" fmla="*/ 0 h 4"/>
                <a:gd name="T22" fmla="*/ 1 w 1"/>
                <a:gd name="T23" fmla="*/ 0 h 4"/>
                <a:gd name="T24" fmla="*/ 1 w 1"/>
                <a:gd name="T25" fmla="*/ 3 h 4"/>
                <a:gd name="T26" fmla="*/ 1 w 1"/>
                <a:gd name="T27" fmla="*/ 3 h 4"/>
                <a:gd name="T28" fmla="*/ 1 w 1"/>
                <a:gd name="T29" fmla="*/ 3 h 4"/>
                <a:gd name="T30" fmla="*/ 1 w 1"/>
                <a:gd name="T31" fmla="*/ 3 h 4"/>
                <a:gd name="T32" fmla="*/ 1 w 1"/>
                <a:gd name="T33" fmla="*/ 3 h 4"/>
                <a:gd name="T34" fmla="*/ 1 w 1"/>
                <a:gd name="T35" fmla="*/ 3 h 4"/>
                <a:gd name="T36" fmla="*/ 1 w 1"/>
                <a:gd name="T37" fmla="*/ 3 h 4"/>
                <a:gd name="T38" fmla="*/ 0 w 1"/>
                <a:gd name="T39" fmla="*/ 4 h 4"/>
                <a:gd name="T40" fmla="*/ 0 w 1"/>
                <a:gd name="T41" fmla="*/ 4 h 4"/>
                <a:gd name="T42" fmla="*/ 0 w 1"/>
                <a:gd name="T43" fmla="*/ 3 h 4"/>
                <a:gd name="T44" fmla="*/ 0 w 1"/>
                <a:gd name="T45" fmla="*/ 3 h 4"/>
                <a:gd name="T46" fmla="*/ 0 w 1"/>
                <a:gd name="T47" fmla="*/ 3 h 4"/>
                <a:gd name="T48" fmla="*/ 0 w 1"/>
                <a:gd name="T49" fmla="*/ 3 h 4"/>
                <a:gd name="T50" fmla="*/ 0 w 1"/>
                <a:gd name="T51" fmla="*/ 3 h 4"/>
                <a:gd name="T52" fmla="*/ 0 w 1"/>
                <a:gd name="T53" fmla="*/ 3 h 4"/>
                <a:gd name="T54" fmla="*/ 0 w 1"/>
                <a:gd name="T55" fmla="*/ 3 h 4"/>
                <a:gd name="T56" fmla="*/ 0 w 1"/>
                <a:gd name="T57" fmla="*/ 3 h 4"/>
                <a:gd name="T58" fmla="*/ 0 w 1"/>
                <a:gd name="T59" fmla="*/ 3 h 4"/>
                <a:gd name="T60" fmla="*/ 0 w 1"/>
                <a:gd name="T61" fmla="*/ 3 h 4"/>
                <a:gd name="T62" fmla="*/ 0 w 1"/>
                <a:gd name="T63" fmla="*/ 3 h 4"/>
                <a:gd name="T64" fmla="*/ 0 w 1"/>
                <a:gd name="T65" fmla="*/ 3 h 4"/>
                <a:gd name="T66" fmla="*/ 0 w 1"/>
                <a:gd name="T67" fmla="*/ 3 h 4"/>
                <a:gd name="T68" fmla="*/ 0 w 1"/>
                <a:gd name="T69" fmla="*/ 0 h 4"/>
                <a:gd name="T70" fmla="*/ 0 w 1"/>
                <a:gd name="T71" fmla="*/ 1 h 4"/>
                <a:gd name="T72" fmla="*/ 0 w 1"/>
                <a:gd name="T73" fmla="*/ 0 h 4"/>
                <a:gd name="T74" fmla="*/ 0 w 1"/>
                <a:gd name="T75" fmla="*/ 1 h 4"/>
                <a:gd name="T76" fmla="*/ 0 w 1"/>
                <a:gd name="T7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252">
              <a:extLst>
                <a:ext uri="{FF2B5EF4-FFF2-40B4-BE49-F238E27FC236}">
                  <a16:creationId xmlns:a16="http://schemas.microsoft.com/office/drawing/2014/main" id="{FC3185A9-6C0E-41E6-93B2-1C5E63F45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11"/>
              <a:ext cx="12" cy="59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0 h 5"/>
                <a:gd name="T4" fmla="*/ 1 w 1"/>
                <a:gd name="T5" fmla="*/ 0 h 5"/>
                <a:gd name="T6" fmla="*/ 1 w 1"/>
                <a:gd name="T7" fmla="*/ 0 h 5"/>
                <a:gd name="T8" fmla="*/ 1 w 1"/>
                <a:gd name="T9" fmla="*/ 0 h 5"/>
                <a:gd name="T10" fmla="*/ 1 w 1"/>
                <a:gd name="T11" fmla="*/ 0 h 5"/>
                <a:gd name="T12" fmla="*/ 1 w 1"/>
                <a:gd name="T13" fmla="*/ 0 h 5"/>
                <a:gd name="T14" fmla="*/ 1 w 1"/>
                <a:gd name="T15" fmla="*/ 0 h 5"/>
                <a:gd name="T16" fmla="*/ 1 w 1"/>
                <a:gd name="T17" fmla="*/ 2 h 5"/>
                <a:gd name="T18" fmla="*/ 1 w 1"/>
                <a:gd name="T19" fmla="*/ 2 h 5"/>
                <a:gd name="T20" fmla="*/ 1 w 1"/>
                <a:gd name="T21" fmla="*/ 3 h 5"/>
                <a:gd name="T22" fmla="*/ 1 w 1"/>
                <a:gd name="T23" fmla="*/ 5 h 5"/>
                <a:gd name="T24" fmla="*/ 1 w 1"/>
                <a:gd name="T25" fmla="*/ 5 h 5"/>
                <a:gd name="T26" fmla="*/ 1 w 1"/>
                <a:gd name="T27" fmla="*/ 5 h 5"/>
                <a:gd name="T28" fmla="*/ 1 w 1"/>
                <a:gd name="T29" fmla="*/ 5 h 5"/>
                <a:gd name="T30" fmla="*/ 1 w 1"/>
                <a:gd name="T31" fmla="*/ 5 h 5"/>
                <a:gd name="T32" fmla="*/ 1 w 1"/>
                <a:gd name="T33" fmla="*/ 5 h 5"/>
                <a:gd name="T34" fmla="*/ 1 w 1"/>
                <a:gd name="T35" fmla="*/ 5 h 5"/>
                <a:gd name="T36" fmla="*/ 1 w 1"/>
                <a:gd name="T37" fmla="*/ 5 h 5"/>
                <a:gd name="T38" fmla="*/ 1 w 1"/>
                <a:gd name="T39" fmla="*/ 5 h 5"/>
                <a:gd name="T40" fmla="*/ 1 w 1"/>
                <a:gd name="T41" fmla="*/ 5 h 5"/>
                <a:gd name="T42" fmla="*/ 1 w 1"/>
                <a:gd name="T43" fmla="*/ 5 h 5"/>
                <a:gd name="T44" fmla="*/ 1 w 1"/>
                <a:gd name="T45" fmla="*/ 5 h 5"/>
                <a:gd name="T46" fmla="*/ 1 w 1"/>
                <a:gd name="T47" fmla="*/ 4 h 5"/>
                <a:gd name="T48" fmla="*/ 0 w 1"/>
                <a:gd name="T49" fmla="*/ 2 h 5"/>
                <a:gd name="T50" fmla="*/ 0 w 1"/>
                <a:gd name="T5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253">
              <a:extLst>
                <a:ext uri="{FF2B5EF4-FFF2-40B4-BE49-F238E27FC236}">
                  <a16:creationId xmlns:a16="http://schemas.microsoft.com/office/drawing/2014/main" id="{EDE0E65A-E84D-4388-947F-E3B02B84C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35"/>
              <a:ext cx="25" cy="35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0 h 3"/>
                <a:gd name="T4" fmla="*/ 1 w 2"/>
                <a:gd name="T5" fmla="*/ 0 h 3"/>
                <a:gd name="T6" fmla="*/ 1 w 2"/>
                <a:gd name="T7" fmla="*/ 0 h 3"/>
                <a:gd name="T8" fmla="*/ 1 w 2"/>
                <a:gd name="T9" fmla="*/ 0 h 3"/>
                <a:gd name="T10" fmla="*/ 1 w 2"/>
                <a:gd name="T11" fmla="*/ 0 h 3"/>
                <a:gd name="T12" fmla="*/ 1 w 2"/>
                <a:gd name="T13" fmla="*/ 0 h 3"/>
                <a:gd name="T14" fmla="*/ 1 w 2"/>
                <a:gd name="T15" fmla="*/ 0 h 3"/>
                <a:gd name="T16" fmla="*/ 1 w 2"/>
                <a:gd name="T17" fmla="*/ 1 h 3"/>
                <a:gd name="T18" fmla="*/ 2 w 2"/>
                <a:gd name="T19" fmla="*/ 3 h 3"/>
                <a:gd name="T20" fmla="*/ 2 w 2"/>
                <a:gd name="T21" fmla="*/ 3 h 3"/>
                <a:gd name="T22" fmla="*/ 2 w 2"/>
                <a:gd name="T23" fmla="*/ 3 h 3"/>
                <a:gd name="T24" fmla="*/ 2 w 2"/>
                <a:gd name="T25" fmla="*/ 3 h 3"/>
                <a:gd name="T26" fmla="*/ 2 w 2"/>
                <a:gd name="T27" fmla="*/ 3 h 3"/>
                <a:gd name="T28" fmla="*/ 2 w 2"/>
                <a:gd name="T29" fmla="*/ 3 h 3"/>
                <a:gd name="T30" fmla="*/ 2 w 2"/>
                <a:gd name="T31" fmla="*/ 3 h 3"/>
                <a:gd name="T32" fmla="*/ 2 w 2"/>
                <a:gd name="T33" fmla="*/ 3 h 3"/>
                <a:gd name="T34" fmla="*/ 2 w 2"/>
                <a:gd name="T35" fmla="*/ 3 h 3"/>
                <a:gd name="T36" fmla="*/ 1 w 2"/>
                <a:gd name="T37" fmla="*/ 3 h 3"/>
                <a:gd name="T38" fmla="*/ 1 w 2"/>
                <a:gd name="T39" fmla="*/ 3 h 3"/>
                <a:gd name="T40" fmla="*/ 1 w 2"/>
                <a:gd name="T41" fmla="*/ 3 h 3"/>
                <a:gd name="T42" fmla="*/ 1 w 2"/>
                <a:gd name="T43" fmla="*/ 3 h 3"/>
                <a:gd name="T44" fmla="*/ 1 w 2"/>
                <a:gd name="T45" fmla="*/ 3 h 3"/>
                <a:gd name="T46" fmla="*/ 1 w 2"/>
                <a:gd name="T47" fmla="*/ 3 h 3"/>
                <a:gd name="T48" fmla="*/ 1 w 2"/>
                <a:gd name="T49" fmla="*/ 3 h 3"/>
                <a:gd name="T50" fmla="*/ 1 w 2"/>
                <a:gd name="T51" fmla="*/ 2 h 3"/>
                <a:gd name="T52" fmla="*/ 0 w 2"/>
                <a:gd name="T5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254">
              <a:extLst>
                <a:ext uri="{FF2B5EF4-FFF2-40B4-BE49-F238E27FC236}">
                  <a16:creationId xmlns:a16="http://schemas.microsoft.com/office/drawing/2014/main" id="{E967EA52-77A7-4AC9-9BA2-B2016516E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47"/>
              <a:ext cx="12" cy="2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0 w 1"/>
                <a:gd name="T15" fmla="*/ 1 h 2"/>
                <a:gd name="T16" fmla="*/ 0 w 1"/>
                <a:gd name="T17" fmla="*/ 1 h 2"/>
                <a:gd name="T18" fmla="*/ 1 w 1"/>
                <a:gd name="T19" fmla="*/ 1 h 2"/>
                <a:gd name="T20" fmla="*/ 1 w 1"/>
                <a:gd name="T21" fmla="*/ 1 h 2"/>
                <a:gd name="T22" fmla="*/ 1 w 1"/>
                <a:gd name="T23" fmla="*/ 1 h 2"/>
                <a:gd name="T24" fmla="*/ 1 w 1"/>
                <a:gd name="T25" fmla="*/ 1 h 2"/>
                <a:gd name="T26" fmla="*/ 1 w 1"/>
                <a:gd name="T27" fmla="*/ 1 h 2"/>
                <a:gd name="T28" fmla="*/ 1 w 1"/>
                <a:gd name="T29" fmla="*/ 1 h 2"/>
                <a:gd name="T30" fmla="*/ 1 w 1"/>
                <a:gd name="T31" fmla="*/ 1 h 2"/>
                <a:gd name="T32" fmla="*/ 1 w 1"/>
                <a:gd name="T33" fmla="*/ 2 h 2"/>
                <a:gd name="T34" fmla="*/ 1 w 1"/>
                <a:gd name="T35" fmla="*/ 2 h 2"/>
                <a:gd name="T36" fmla="*/ 1 w 1"/>
                <a:gd name="T37" fmla="*/ 2 h 2"/>
                <a:gd name="T38" fmla="*/ 1 w 1"/>
                <a:gd name="T39" fmla="*/ 2 h 2"/>
                <a:gd name="T40" fmla="*/ 1 w 1"/>
                <a:gd name="T41" fmla="*/ 2 h 2"/>
                <a:gd name="T42" fmla="*/ 1 w 1"/>
                <a:gd name="T43" fmla="*/ 2 h 2"/>
                <a:gd name="T44" fmla="*/ 1 w 1"/>
                <a:gd name="T45" fmla="*/ 2 h 2"/>
                <a:gd name="T46" fmla="*/ 1 w 1"/>
                <a:gd name="T47" fmla="*/ 2 h 2"/>
                <a:gd name="T48" fmla="*/ 0 w 1"/>
                <a:gd name="T49" fmla="*/ 2 h 2"/>
                <a:gd name="T50" fmla="*/ 0 w 1"/>
                <a:gd name="T51" fmla="*/ 2 h 2"/>
                <a:gd name="T52" fmla="*/ 0 w 1"/>
                <a:gd name="T53" fmla="*/ 1 h 2"/>
                <a:gd name="T54" fmla="*/ 0 w 1"/>
                <a:gd name="T55" fmla="*/ 1 h 2"/>
                <a:gd name="T56" fmla="*/ 0 w 1"/>
                <a:gd name="T57" fmla="*/ 1 h 2"/>
                <a:gd name="T58" fmla="*/ 0 w 1"/>
                <a:gd name="T59" fmla="*/ 1 h 2"/>
                <a:gd name="T60" fmla="*/ 0 w 1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255">
              <a:extLst>
                <a:ext uri="{FF2B5EF4-FFF2-40B4-BE49-F238E27FC236}">
                  <a16:creationId xmlns:a16="http://schemas.microsoft.com/office/drawing/2014/main" id="{CA4BB619-BFFB-42F6-A67A-8E5DE4173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59"/>
              <a:ext cx="12" cy="2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0 w 1"/>
                <a:gd name="T15" fmla="*/ 0 h 2"/>
                <a:gd name="T16" fmla="*/ 1 w 1"/>
                <a:gd name="T17" fmla="*/ 0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1 w 1"/>
                <a:gd name="T27" fmla="*/ 2 h 2"/>
                <a:gd name="T28" fmla="*/ 0 w 1"/>
                <a:gd name="T29" fmla="*/ 2 h 2"/>
                <a:gd name="T30" fmla="*/ 0 w 1"/>
                <a:gd name="T31" fmla="*/ 2 h 2"/>
                <a:gd name="T32" fmla="*/ 0 w 1"/>
                <a:gd name="T33" fmla="*/ 2 h 2"/>
                <a:gd name="T34" fmla="*/ 0 w 1"/>
                <a:gd name="T35" fmla="*/ 2 h 2"/>
                <a:gd name="T36" fmla="*/ 0 w 1"/>
                <a:gd name="T37" fmla="*/ 2 h 2"/>
                <a:gd name="T38" fmla="*/ 0 w 1"/>
                <a:gd name="T39" fmla="*/ 2 h 2"/>
                <a:gd name="T40" fmla="*/ 0 w 1"/>
                <a:gd name="T41" fmla="*/ 2 h 2"/>
                <a:gd name="T42" fmla="*/ 0 w 1"/>
                <a:gd name="T4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256">
              <a:extLst>
                <a:ext uri="{FF2B5EF4-FFF2-40B4-BE49-F238E27FC236}">
                  <a16:creationId xmlns:a16="http://schemas.microsoft.com/office/drawing/2014/main" id="{856151A8-57BD-476E-B150-94CDB51ED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70"/>
              <a:ext cx="12" cy="1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1 w 1"/>
                <a:gd name="T15" fmla="*/ 0 h 1"/>
                <a:gd name="T16" fmla="*/ 1 w 1"/>
                <a:gd name="T17" fmla="*/ 0 h 1"/>
                <a:gd name="T18" fmla="*/ 0 w 1"/>
                <a:gd name="T19" fmla="*/ 0 h 1"/>
                <a:gd name="T20" fmla="*/ 0 w 1"/>
                <a:gd name="T21" fmla="*/ 1 h 1"/>
                <a:gd name="T22" fmla="*/ 0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0 w 1"/>
                <a:gd name="T33" fmla="*/ 1 h 1"/>
                <a:gd name="T34" fmla="*/ 0 w 1"/>
                <a:gd name="T35" fmla="*/ 1 h 1"/>
                <a:gd name="T36" fmla="*/ 0 w 1"/>
                <a:gd name="T37" fmla="*/ 1 h 1"/>
                <a:gd name="T38" fmla="*/ 0 w 1"/>
                <a:gd name="T39" fmla="*/ 1 h 1"/>
                <a:gd name="T40" fmla="*/ 0 w 1"/>
                <a:gd name="T41" fmla="*/ 1 h 1"/>
                <a:gd name="T42" fmla="*/ 0 w 1"/>
                <a:gd name="T4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257">
              <a:extLst>
                <a:ext uri="{FF2B5EF4-FFF2-40B4-BE49-F238E27FC236}">
                  <a16:creationId xmlns:a16="http://schemas.microsoft.com/office/drawing/2014/main" id="{36F003A2-CA07-44A0-BDEA-E4201F2A5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2082"/>
              <a:ext cx="64" cy="24"/>
            </a:xfrm>
            <a:custGeom>
              <a:avLst/>
              <a:gdLst>
                <a:gd name="T0" fmla="*/ 1 w 5"/>
                <a:gd name="T1" fmla="*/ 2 h 2"/>
                <a:gd name="T2" fmla="*/ 1 w 5"/>
                <a:gd name="T3" fmla="*/ 2 h 2"/>
                <a:gd name="T4" fmla="*/ 1 w 5"/>
                <a:gd name="T5" fmla="*/ 2 h 2"/>
                <a:gd name="T6" fmla="*/ 1 w 5"/>
                <a:gd name="T7" fmla="*/ 2 h 2"/>
                <a:gd name="T8" fmla="*/ 0 w 5"/>
                <a:gd name="T9" fmla="*/ 2 h 2"/>
                <a:gd name="T10" fmla="*/ 0 w 5"/>
                <a:gd name="T11" fmla="*/ 1 h 2"/>
                <a:gd name="T12" fmla="*/ 0 w 5"/>
                <a:gd name="T13" fmla="*/ 1 h 2"/>
                <a:gd name="T14" fmla="*/ 1 w 5"/>
                <a:gd name="T15" fmla="*/ 1 h 2"/>
                <a:gd name="T16" fmla="*/ 1 w 5"/>
                <a:gd name="T17" fmla="*/ 1 h 2"/>
                <a:gd name="T18" fmla="*/ 3 w 5"/>
                <a:gd name="T19" fmla="*/ 0 h 2"/>
                <a:gd name="T20" fmla="*/ 3 w 5"/>
                <a:gd name="T21" fmla="*/ 0 h 2"/>
                <a:gd name="T22" fmla="*/ 5 w 5"/>
                <a:gd name="T23" fmla="*/ 0 h 2"/>
                <a:gd name="T24" fmla="*/ 5 w 5"/>
                <a:gd name="T25" fmla="*/ 0 h 2"/>
                <a:gd name="T26" fmla="*/ 5 w 5"/>
                <a:gd name="T27" fmla="*/ 0 h 2"/>
                <a:gd name="T28" fmla="*/ 5 w 5"/>
                <a:gd name="T29" fmla="*/ 0 h 2"/>
                <a:gd name="T30" fmla="*/ 5 w 5"/>
                <a:gd name="T31" fmla="*/ 0 h 2"/>
                <a:gd name="T32" fmla="*/ 5 w 5"/>
                <a:gd name="T33" fmla="*/ 0 h 2"/>
                <a:gd name="T34" fmla="*/ 5 w 5"/>
                <a:gd name="T35" fmla="*/ 0 h 2"/>
                <a:gd name="T36" fmla="*/ 5 w 5"/>
                <a:gd name="T37" fmla="*/ 0 h 2"/>
                <a:gd name="T38" fmla="*/ 5 w 5"/>
                <a:gd name="T39" fmla="*/ 0 h 2"/>
                <a:gd name="T40" fmla="*/ 5 w 5"/>
                <a:gd name="T41" fmla="*/ 0 h 2"/>
                <a:gd name="T42" fmla="*/ 3 w 5"/>
                <a:gd name="T43" fmla="*/ 1 h 2"/>
                <a:gd name="T44" fmla="*/ 1 w 5"/>
                <a:gd name="T4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258">
              <a:extLst>
                <a:ext uri="{FF2B5EF4-FFF2-40B4-BE49-F238E27FC236}">
                  <a16:creationId xmlns:a16="http://schemas.microsoft.com/office/drawing/2014/main" id="{9D85830B-3B56-40A7-AFC0-4739CA1E1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000"/>
              <a:ext cx="12" cy="2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1 w 1"/>
                <a:gd name="T15" fmla="*/ 1 h 2"/>
                <a:gd name="T16" fmla="*/ 1 w 1"/>
                <a:gd name="T17" fmla="*/ 1 h 2"/>
                <a:gd name="T18" fmla="*/ 1 w 1"/>
                <a:gd name="T19" fmla="*/ 1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1 w 1"/>
                <a:gd name="T27" fmla="*/ 2 h 2"/>
                <a:gd name="T28" fmla="*/ 1 w 1"/>
                <a:gd name="T29" fmla="*/ 2 h 2"/>
                <a:gd name="T30" fmla="*/ 1 w 1"/>
                <a:gd name="T31" fmla="*/ 2 h 2"/>
                <a:gd name="T32" fmla="*/ 1 w 1"/>
                <a:gd name="T33" fmla="*/ 2 h 2"/>
                <a:gd name="T34" fmla="*/ 1 w 1"/>
                <a:gd name="T35" fmla="*/ 2 h 2"/>
                <a:gd name="T36" fmla="*/ 1 w 1"/>
                <a:gd name="T37" fmla="*/ 2 h 2"/>
                <a:gd name="T38" fmla="*/ 0 w 1"/>
                <a:gd name="T39" fmla="*/ 2 h 2"/>
                <a:gd name="T40" fmla="*/ 0 w 1"/>
                <a:gd name="T41" fmla="*/ 1 h 2"/>
                <a:gd name="T42" fmla="*/ 0 w 1"/>
                <a:gd name="T4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259">
              <a:extLst>
                <a:ext uri="{FF2B5EF4-FFF2-40B4-BE49-F238E27FC236}">
                  <a16:creationId xmlns:a16="http://schemas.microsoft.com/office/drawing/2014/main" id="{44A7A88C-FA03-4078-AE0E-2033B08BB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2000"/>
              <a:ext cx="64" cy="106"/>
            </a:xfrm>
            <a:custGeom>
              <a:avLst/>
              <a:gdLst>
                <a:gd name="T0" fmla="*/ 5 w 5"/>
                <a:gd name="T1" fmla="*/ 0 h 9"/>
                <a:gd name="T2" fmla="*/ 5 w 5"/>
                <a:gd name="T3" fmla="*/ 0 h 9"/>
                <a:gd name="T4" fmla="*/ 5 w 5"/>
                <a:gd name="T5" fmla="*/ 0 h 9"/>
                <a:gd name="T6" fmla="*/ 5 w 5"/>
                <a:gd name="T7" fmla="*/ 0 h 9"/>
                <a:gd name="T8" fmla="*/ 5 w 5"/>
                <a:gd name="T9" fmla="*/ 0 h 9"/>
                <a:gd name="T10" fmla="*/ 5 w 5"/>
                <a:gd name="T11" fmla="*/ 0 h 9"/>
                <a:gd name="T12" fmla="*/ 5 w 5"/>
                <a:gd name="T13" fmla="*/ 0 h 9"/>
                <a:gd name="T14" fmla="*/ 5 w 5"/>
                <a:gd name="T15" fmla="*/ 0 h 9"/>
                <a:gd name="T16" fmla="*/ 5 w 5"/>
                <a:gd name="T17" fmla="*/ 0 h 9"/>
                <a:gd name="T18" fmla="*/ 5 w 5"/>
                <a:gd name="T19" fmla="*/ 1 h 9"/>
                <a:gd name="T20" fmla="*/ 5 w 5"/>
                <a:gd name="T21" fmla="*/ 1 h 9"/>
                <a:gd name="T22" fmla="*/ 4 w 5"/>
                <a:gd name="T23" fmla="*/ 3 h 9"/>
                <a:gd name="T24" fmla="*/ 4 w 5"/>
                <a:gd name="T25" fmla="*/ 3 h 9"/>
                <a:gd name="T26" fmla="*/ 3 w 5"/>
                <a:gd name="T27" fmla="*/ 4 h 9"/>
                <a:gd name="T28" fmla="*/ 3 w 5"/>
                <a:gd name="T29" fmla="*/ 4 h 9"/>
                <a:gd name="T30" fmla="*/ 2 w 5"/>
                <a:gd name="T31" fmla="*/ 5 h 9"/>
                <a:gd name="T32" fmla="*/ 2 w 5"/>
                <a:gd name="T33" fmla="*/ 5 h 9"/>
                <a:gd name="T34" fmla="*/ 1 w 5"/>
                <a:gd name="T35" fmla="*/ 6 h 9"/>
                <a:gd name="T36" fmla="*/ 1 w 5"/>
                <a:gd name="T37" fmla="*/ 6 h 9"/>
                <a:gd name="T38" fmla="*/ 1 w 5"/>
                <a:gd name="T39" fmla="*/ 7 h 9"/>
                <a:gd name="T40" fmla="*/ 1 w 5"/>
                <a:gd name="T41" fmla="*/ 7 h 9"/>
                <a:gd name="T42" fmla="*/ 1 w 5"/>
                <a:gd name="T43" fmla="*/ 8 h 9"/>
                <a:gd name="T44" fmla="*/ 1 w 5"/>
                <a:gd name="T45" fmla="*/ 7 h 9"/>
                <a:gd name="T46" fmla="*/ 1 w 5"/>
                <a:gd name="T47" fmla="*/ 8 h 9"/>
                <a:gd name="T48" fmla="*/ 1 w 5"/>
                <a:gd name="T49" fmla="*/ 8 h 9"/>
                <a:gd name="T50" fmla="*/ 1 w 5"/>
                <a:gd name="T51" fmla="*/ 8 h 9"/>
                <a:gd name="T52" fmla="*/ 1 w 5"/>
                <a:gd name="T53" fmla="*/ 8 h 9"/>
                <a:gd name="T54" fmla="*/ 1 w 5"/>
                <a:gd name="T55" fmla="*/ 8 h 9"/>
                <a:gd name="T56" fmla="*/ 1 w 5"/>
                <a:gd name="T57" fmla="*/ 8 h 9"/>
                <a:gd name="T58" fmla="*/ 1 w 5"/>
                <a:gd name="T59" fmla="*/ 8 h 9"/>
                <a:gd name="T60" fmla="*/ 1 w 5"/>
                <a:gd name="T61" fmla="*/ 8 h 9"/>
                <a:gd name="T62" fmla="*/ 1 w 5"/>
                <a:gd name="T63" fmla="*/ 8 h 9"/>
                <a:gd name="T64" fmla="*/ 1 w 5"/>
                <a:gd name="T65" fmla="*/ 9 h 9"/>
                <a:gd name="T66" fmla="*/ 1 w 5"/>
                <a:gd name="T67" fmla="*/ 9 h 9"/>
                <a:gd name="T68" fmla="*/ 1 w 5"/>
                <a:gd name="T69" fmla="*/ 8 h 9"/>
                <a:gd name="T70" fmla="*/ 0 w 5"/>
                <a:gd name="T71" fmla="*/ 8 h 9"/>
                <a:gd name="T72" fmla="*/ 0 w 5"/>
                <a:gd name="T73" fmla="*/ 8 h 9"/>
                <a:gd name="T74" fmla="*/ 0 w 5"/>
                <a:gd name="T75" fmla="*/ 8 h 9"/>
                <a:gd name="T76" fmla="*/ 0 w 5"/>
                <a:gd name="T77" fmla="*/ 8 h 9"/>
                <a:gd name="T78" fmla="*/ 0 w 5"/>
                <a:gd name="T79" fmla="*/ 8 h 9"/>
                <a:gd name="T80" fmla="*/ 0 w 5"/>
                <a:gd name="T81" fmla="*/ 8 h 9"/>
                <a:gd name="T82" fmla="*/ 0 w 5"/>
                <a:gd name="T83" fmla="*/ 7 h 9"/>
                <a:gd name="T84" fmla="*/ 0 w 5"/>
                <a:gd name="T85" fmla="*/ 7 h 9"/>
                <a:gd name="T86" fmla="*/ 0 w 5"/>
                <a:gd name="T87" fmla="*/ 7 h 9"/>
                <a:gd name="T88" fmla="*/ 1 w 5"/>
                <a:gd name="T89" fmla="*/ 6 h 9"/>
                <a:gd name="T90" fmla="*/ 1 w 5"/>
                <a:gd name="T91" fmla="*/ 6 h 9"/>
                <a:gd name="T92" fmla="*/ 2 w 5"/>
                <a:gd name="T93" fmla="*/ 4 h 9"/>
                <a:gd name="T94" fmla="*/ 2 w 5"/>
                <a:gd name="T95" fmla="*/ 4 h 9"/>
                <a:gd name="T96" fmla="*/ 3 w 5"/>
                <a:gd name="T97" fmla="*/ 4 h 9"/>
                <a:gd name="T98" fmla="*/ 3 w 5"/>
                <a:gd name="T99" fmla="*/ 4 h 9"/>
                <a:gd name="T100" fmla="*/ 3 w 5"/>
                <a:gd name="T101" fmla="*/ 3 h 9"/>
                <a:gd name="T102" fmla="*/ 3 w 5"/>
                <a:gd name="T103" fmla="*/ 3 h 9"/>
                <a:gd name="T104" fmla="*/ 4 w 5"/>
                <a:gd name="T105" fmla="*/ 1 h 9"/>
                <a:gd name="T106" fmla="*/ 4 w 5"/>
                <a:gd name="T107" fmla="*/ 1 h 9"/>
                <a:gd name="T108" fmla="*/ 5 w 5"/>
                <a:gd name="T10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260">
              <a:extLst>
                <a:ext uri="{FF2B5EF4-FFF2-40B4-BE49-F238E27FC236}">
                  <a16:creationId xmlns:a16="http://schemas.microsoft.com/office/drawing/2014/main" id="{F5BEAB0B-8E61-4F91-8384-D180563F2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" y="2070"/>
              <a:ext cx="64" cy="24"/>
            </a:xfrm>
            <a:custGeom>
              <a:avLst/>
              <a:gdLst>
                <a:gd name="T0" fmla="*/ 1 w 5"/>
                <a:gd name="T1" fmla="*/ 2 h 2"/>
                <a:gd name="T2" fmla="*/ 1 w 5"/>
                <a:gd name="T3" fmla="*/ 2 h 2"/>
                <a:gd name="T4" fmla="*/ 1 w 5"/>
                <a:gd name="T5" fmla="*/ 2 h 2"/>
                <a:gd name="T6" fmla="*/ 1 w 5"/>
                <a:gd name="T7" fmla="*/ 2 h 2"/>
                <a:gd name="T8" fmla="*/ 1 w 5"/>
                <a:gd name="T9" fmla="*/ 2 h 2"/>
                <a:gd name="T10" fmla="*/ 0 w 5"/>
                <a:gd name="T11" fmla="*/ 2 h 2"/>
                <a:gd name="T12" fmla="*/ 0 w 5"/>
                <a:gd name="T13" fmla="*/ 2 h 2"/>
                <a:gd name="T14" fmla="*/ 0 w 5"/>
                <a:gd name="T15" fmla="*/ 2 h 2"/>
                <a:gd name="T16" fmla="*/ 0 w 5"/>
                <a:gd name="T17" fmla="*/ 2 h 2"/>
                <a:gd name="T18" fmla="*/ 1 w 5"/>
                <a:gd name="T19" fmla="*/ 1 h 2"/>
                <a:gd name="T20" fmla="*/ 1 w 5"/>
                <a:gd name="T21" fmla="*/ 1 h 2"/>
                <a:gd name="T22" fmla="*/ 1 w 5"/>
                <a:gd name="T23" fmla="*/ 1 h 2"/>
                <a:gd name="T24" fmla="*/ 1 w 5"/>
                <a:gd name="T25" fmla="*/ 1 h 2"/>
                <a:gd name="T26" fmla="*/ 3 w 5"/>
                <a:gd name="T27" fmla="*/ 1 h 2"/>
                <a:gd name="T28" fmla="*/ 4 w 5"/>
                <a:gd name="T29" fmla="*/ 0 h 2"/>
                <a:gd name="T30" fmla="*/ 4 w 5"/>
                <a:gd name="T31" fmla="*/ 0 h 2"/>
                <a:gd name="T32" fmla="*/ 5 w 5"/>
                <a:gd name="T33" fmla="*/ 0 h 2"/>
                <a:gd name="T34" fmla="*/ 4 w 5"/>
                <a:gd name="T35" fmla="*/ 0 h 2"/>
                <a:gd name="T36" fmla="*/ 5 w 5"/>
                <a:gd name="T37" fmla="*/ 0 h 2"/>
                <a:gd name="T38" fmla="*/ 5 w 5"/>
                <a:gd name="T39" fmla="*/ 0 h 2"/>
                <a:gd name="T40" fmla="*/ 5 w 5"/>
                <a:gd name="T41" fmla="*/ 0 h 2"/>
                <a:gd name="T42" fmla="*/ 5 w 5"/>
                <a:gd name="T43" fmla="*/ 0 h 2"/>
                <a:gd name="T44" fmla="*/ 5 w 5"/>
                <a:gd name="T45" fmla="*/ 0 h 2"/>
                <a:gd name="T46" fmla="*/ 5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5 w 5"/>
                <a:gd name="T73" fmla="*/ 1 h 2"/>
                <a:gd name="T74" fmla="*/ 4 w 5"/>
                <a:gd name="T75" fmla="*/ 1 h 2"/>
                <a:gd name="T76" fmla="*/ 4 w 5"/>
                <a:gd name="T77" fmla="*/ 1 h 2"/>
                <a:gd name="T78" fmla="*/ 3 w 5"/>
                <a:gd name="T79" fmla="*/ 1 h 2"/>
                <a:gd name="T80" fmla="*/ 2 w 5"/>
                <a:gd name="T81" fmla="*/ 2 h 2"/>
                <a:gd name="T82" fmla="*/ 1 w 5"/>
                <a:gd name="T83" fmla="*/ 2 h 2"/>
                <a:gd name="T84" fmla="*/ 1 w 5"/>
                <a:gd name="T85" fmla="*/ 2 h 2"/>
                <a:gd name="T86" fmla="*/ 1 w 5"/>
                <a:gd name="T8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261">
              <a:extLst>
                <a:ext uri="{FF2B5EF4-FFF2-40B4-BE49-F238E27FC236}">
                  <a16:creationId xmlns:a16="http://schemas.microsoft.com/office/drawing/2014/main" id="{B553D815-DD63-4280-BC83-36D39EA83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1988"/>
              <a:ext cx="13" cy="35"/>
            </a:xfrm>
            <a:custGeom>
              <a:avLst/>
              <a:gdLst>
                <a:gd name="T0" fmla="*/ 1 w 1"/>
                <a:gd name="T1" fmla="*/ 0 h 3"/>
                <a:gd name="T2" fmla="*/ 1 w 1"/>
                <a:gd name="T3" fmla="*/ 0 h 3"/>
                <a:gd name="T4" fmla="*/ 1 w 1"/>
                <a:gd name="T5" fmla="*/ 0 h 3"/>
                <a:gd name="T6" fmla="*/ 1 w 1"/>
                <a:gd name="T7" fmla="*/ 0 h 3"/>
                <a:gd name="T8" fmla="*/ 1 w 1"/>
                <a:gd name="T9" fmla="*/ 0 h 3"/>
                <a:gd name="T10" fmla="*/ 1 w 1"/>
                <a:gd name="T11" fmla="*/ 0 h 3"/>
                <a:gd name="T12" fmla="*/ 1 w 1"/>
                <a:gd name="T13" fmla="*/ 0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2 h 3"/>
                <a:gd name="T30" fmla="*/ 0 w 1"/>
                <a:gd name="T31" fmla="*/ 2 h 3"/>
                <a:gd name="T32" fmla="*/ 0 w 1"/>
                <a:gd name="T33" fmla="*/ 3 h 3"/>
                <a:gd name="T34" fmla="*/ 0 w 1"/>
                <a:gd name="T35" fmla="*/ 3 h 3"/>
                <a:gd name="T36" fmla="*/ 0 w 1"/>
                <a:gd name="T37" fmla="*/ 3 h 3"/>
                <a:gd name="T38" fmla="*/ 0 w 1"/>
                <a:gd name="T39" fmla="*/ 3 h 3"/>
                <a:gd name="T40" fmla="*/ 0 w 1"/>
                <a:gd name="T41" fmla="*/ 3 h 3"/>
                <a:gd name="T42" fmla="*/ 0 w 1"/>
                <a:gd name="T43" fmla="*/ 3 h 3"/>
                <a:gd name="T44" fmla="*/ 0 w 1"/>
                <a:gd name="T45" fmla="*/ 3 h 3"/>
                <a:gd name="T46" fmla="*/ 0 w 1"/>
                <a:gd name="T47" fmla="*/ 3 h 3"/>
                <a:gd name="T48" fmla="*/ 0 w 1"/>
                <a:gd name="T49" fmla="*/ 3 h 3"/>
                <a:gd name="T50" fmla="*/ 0 w 1"/>
                <a:gd name="T51" fmla="*/ 1 h 3"/>
                <a:gd name="T52" fmla="*/ 0 w 1"/>
                <a:gd name="T53" fmla="*/ 1 h 3"/>
                <a:gd name="T54" fmla="*/ 0 w 1"/>
                <a:gd name="T55" fmla="*/ 1 h 3"/>
                <a:gd name="T56" fmla="*/ 0 w 1"/>
                <a:gd name="T57" fmla="*/ 0 h 3"/>
                <a:gd name="T58" fmla="*/ 0 w 1"/>
                <a:gd name="T59" fmla="*/ 0 h 3"/>
                <a:gd name="T60" fmla="*/ 0 w 1"/>
                <a:gd name="T61" fmla="*/ 0 h 3"/>
                <a:gd name="T62" fmla="*/ 1 w 1"/>
                <a:gd name="T6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262">
              <a:extLst>
                <a:ext uri="{FF2B5EF4-FFF2-40B4-BE49-F238E27FC236}">
                  <a16:creationId xmlns:a16="http://schemas.microsoft.com/office/drawing/2014/main" id="{7F731299-3811-429C-8065-FE6C162D2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1988"/>
              <a:ext cx="38" cy="23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2 h 2"/>
                <a:gd name="T4" fmla="*/ 3 w 3"/>
                <a:gd name="T5" fmla="*/ 2 h 2"/>
                <a:gd name="T6" fmla="*/ 3 w 3"/>
                <a:gd name="T7" fmla="*/ 2 h 2"/>
                <a:gd name="T8" fmla="*/ 3 w 3"/>
                <a:gd name="T9" fmla="*/ 2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3 w 3"/>
                <a:gd name="T19" fmla="*/ 2 h 2"/>
                <a:gd name="T20" fmla="*/ 3 w 3"/>
                <a:gd name="T21" fmla="*/ 2 h 2"/>
                <a:gd name="T22" fmla="*/ 3 w 3"/>
                <a:gd name="T23" fmla="*/ 2 h 2"/>
                <a:gd name="T24" fmla="*/ 2 w 3"/>
                <a:gd name="T25" fmla="*/ 2 h 2"/>
                <a:gd name="T26" fmla="*/ 2 w 3"/>
                <a:gd name="T27" fmla="*/ 1 h 2"/>
                <a:gd name="T28" fmla="*/ 2 w 3"/>
                <a:gd name="T29" fmla="*/ 2 h 2"/>
                <a:gd name="T30" fmla="*/ 2 w 3"/>
                <a:gd name="T31" fmla="*/ 1 h 2"/>
                <a:gd name="T32" fmla="*/ 2 w 3"/>
                <a:gd name="T33" fmla="*/ 1 h 2"/>
                <a:gd name="T34" fmla="*/ 1 w 3"/>
                <a:gd name="T35" fmla="*/ 1 h 2"/>
                <a:gd name="T36" fmla="*/ 1 w 3"/>
                <a:gd name="T37" fmla="*/ 1 h 2"/>
                <a:gd name="T38" fmla="*/ 1 w 3"/>
                <a:gd name="T39" fmla="*/ 1 h 2"/>
                <a:gd name="T40" fmla="*/ 1 w 3"/>
                <a:gd name="T41" fmla="*/ 1 h 2"/>
                <a:gd name="T42" fmla="*/ 0 w 3"/>
                <a:gd name="T43" fmla="*/ 0 h 2"/>
                <a:gd name="T44" fmla="*/ 0 w 3"/>
                <a:gd name="T45" fmla="*/ 0 h 2"/>
                <a:gd name="T46" fmla="*/ 0 w 3"/>
                <a:gd name="T47" fmla="*/ 0 h 2"/>
                <a:gd name="T48" fmla="*/ 0 w 3"/>
                <a:gd name="T49" fmla="*/ 0 h 2"/>
                <a:gd name="T50" fmla="*/ 0 w 3"/>
                <a:gd name="T51" fmla="*/ 0 h 2"/>
                <a:gd name="T52" fmla="*/ 0 w 3"/>
                <a:gd name="T53" fmla="*/ 0 h 2"/>
                <a:gd name="T54" fmla="*/ 0 w 3"/>
                <a:gd name="T55" fmla="*/ 0 h 2"/>
                <a:gd name="T56" fmla="*/ 0 w 3"/>
                <a:gd name="T57" fmla="*/ 0 h 2"/>
                <a:gd name="T58" fmla="*/ 0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1 w 3"/>
                <a:gd name="T65" fmla="*/ 0 h 2"/>
                <a:gd name="T66" fmla="*/ 2 w 3"/>
                <a:gd name="T67" fmla="*/ 0 h 2"/>
                <a:gd name="T68" fmla="*/ 1 w 3"/>
                <a:gd name="T69" fmla="*/ 0 h 2"/>
                <a:gd name="T70" fmla="*/ 2 w 3"/>
                <a:gd name="T71" fmla="*/ 0 h 2"/>
                <a:gd name="T72" fmla="*/ 2 w 3"/>
                <a:gd name="T73" fmla="*/ 1 h 2"/>
                <a:gd name="T74" fmla="*/ 2 w 3"/>
                <a:gd name="T75" fmla="*/ 1 h 2"/>
                <a:gd name="T76" fmla="*/ 3 w 3"/>
                <a:gd name="T77" fmla="*/ 1 h 2"/>
                <a:gd name="T78" fmla="*/ 3 w 3"/>
                <a:gd name="T79" fmla="*/ 1 h 2"/>
                <a:gd name="T80" fmla="*/ 3 w 3"/>
                <a:gd name="T8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264">
              <a:extLst>
                <a:ext uri="{FF2B5EF4-FFF2-40B4-BE49-F238E27FC236}">
                  <a16:creationId xmlns:a16="http://schemas.microsoft.com/office/drawing/2014/main" id="{AFCA19F6-CFA4-491F-AAFF-861CF7EE3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" y="1622"/>
              <a:ext cx="306" cy="389"/>
            </a:xfrm>
            <a:custGeom>
              <a:avLst/>
              <a:gdLst>
                <a:gd name="T0" fmla="*/ 1 w 24"/>
                <a:gd name="T1" fmla="*/ 33 h 33"/>
                <a:gd name="T2" fmla="*/ 1 w 24"/>
                <a:gd name="T3" fmla="*/ 33 h 33"/>
                <a:gd name="T4" fmla="*/ 1 w 24"/>
                <a:gd name="T5" fmla="*/ 33 h 33"/>
                <a:gd name="T6" fmla="*/ 1 w 24"/>
                <a:gd name="T7" fmla="*/ 33 h 33"/>
                <a:gd name="T8" fmla="*/ 1 w 24"/>
                <a:gd name="T9" fmla="*/ 33 h 33"/>
                <a:gd name="T10" fmla="*/ 1 w 24"/>
                <a:gd name="T11" fmla="*/ 33 h 33"/>
                <a:gd name="T12" fmla="*/ 0 w 24"/>
                <a:gd name="T13" fmla="*/ 30 h 33"/>
                <a:gd name="T14" fmla="*/ 0 w 24"/>
                <a:gd name="T15" fmla="*/ 24 h 33"/>
                <a:gd name="T16" fmla="*/ 0 w 24"/>
                <a:gd name="T17" fmla="*/ 17 h 33"/>
                <a:gd name="T18" fmla="*/ 1 w 24"/>
                <a:gd name="T19" fmla="*/ 11 h 33"/>
                <a:gd name="T20" fmla="*/ 1 w 24"/>
                <a:gd name="T21" fmla="*/ 8 h 33"/>
                <a:gd name="T22" fmla="*/ 3 w 24"/>
                <a:gd name="T23" fmla="*/ 5 h 33"/>
                <a:gd name="T24" fmla="*/ 3 w 24"/>
                <a:gd name="T25" fmla="*/ 4 h 33"/>
                <a:gd name="T26" fmla="*/ 4 w 24"/>
                <a:gd name="T27" fmla="*/ 3 h 33"/>
                <a:gd name="T28" fmla="*/ 5 w 24"/>
                <a:gd name="T29" fmla="*/ 3 h 33"/>
                <a:gd name="T30" fmla="*/ 9 w 24"/>
                <a:gd name="T31" fmla="*/ 1 h 33"/>
                <a:gd name="T32" fmla="*/ 11 w 24"/>
                <a:gd name="T33" fmla="*/ 1 h 33"/>
                <a:gd name="T34" fmla="*/ 15 w 24"/>
                <a:gd name="T35" fmla="*/ 0 h 33"/>
                <a:gd name="T36" fmla="*/ 15 w 24"/>
                <a:gd name="T37" fmla="*/ 0 h 33"/>
                <a:gd name="T38" fmla="*/ 16 w 24"/>
                <a:gd name="T39" fmla="*/ 0 h 33"/>
                <a:gd name="T40" fmla="*/ 23 w 24"/>
                <a:gd name="T41" fmla="*/ 0 h 33"/>
                <a:gd name="T42" fmla="*/ 24 w 24"/>
                <a:gd name="T43" fmla="*/ 0 h 33"/>
                <a:gd name="T44" fmla="*/ 24 w 24"/>
                <a:gd name="T45" fmla="*/ 0 h 33"/>
                <a:gd name="T46" fmla="*/ 24 w 24"/>
                <a:gd name="T47" fmla="*/ 0 h 33"/>
                <a:gd name="T48" fmla="*/ 24 w 24"/>
                <a:gd name="T49" fmla="*/ 0 h 33"/>
                <a:gd name="T50" fmla="*/ 24 w 24"/>
                <a:gd name="T51" fmla="*/ 0 h 33"/>
                <a:gd name="T52" fmla="*/ 24 w 24"/>
                <a:gd name="T53" fmla="*/ 0 h 33"/>
                <a:gd name="T54" fmla="*/ 23 w 24"/>
                <a:gd name="T55" fmla="*/ 0 h 33"/>
                <a:gd name="T56" fmla="*/ 16 w 24"/>
                <a:gd name="T57" fmla="*/ 1 h 33"/>
                <a:gd name="T58" fmla="*/ 15 w 24"/>
                <a:gd name="T59" fmla="*/ 1 h 33"/>
                <a:gd name="T60" fmla="*/ 15 w 24"/>
                <a:gd name="T61" fmla="*/ 1 h 33"/>
                <a:gd name="T62" fmla="*/ 15 w 24"/>
                <a:gd name="T63" fmla="*/ 1 h 33"/>
                <a:gd name="T64" fmla="*/ 11 w 24"/>
                <a:gd name="T65" fmla="*/ 1 h 33"/>
                <a:gd name="T66" fmla="*/ 9 w 24"/>
                <a:gd name="T67" fmla="*/ 2 h 33"/>
                <a:gd name="T68" fmla="*/ 7 w 24"/>
                <a:gd name="T69" fmla="*/ 2 h 33"/>
                <a:gd name="T70" fmla="*/ 5 w 24"/>
                <a:gd name="T71" fmla="*/ 3 h 33"/>
                <a:gd name="T72" fmla="*/ 4 w 24"/>
                <a:gd name="T73" fmla="*/ 4 h 33"/>
                <a:gd name="T74" fmla="*/ 3 w 24"/>
                <a:gd name="T75" fmla="*/ 5 h 33"/>
                <a:gd name="T76" fmla="*/ 3 w 24"/>
                <a:gd name="T77" fmla="*/ 6 h 33"/>
                <a:gd name="T78" fmla="*/ 2 w 24"/>
                <a:gd name="T79" fmla="*/ 8 h 33"/>
                <a:gd name="T80" fmla="*/ 1 w 24"/>
                <a:gd name="T81" fmla="*/ 14 h 33"/>
                <a:gd name="T82" fmla="*/ 1 w 24"/>
                <a:gd name="T83" fmla="*/ 24 h 33"/>
                <a:gd name="T84" fmla="*/ 1 w 24"/>
                <a:gd name="T85" fmla="*/ 28 h 33"/>
                <a:gd name="T86" fmla="*/ 1 w 24"/>
                <a:gd name="T8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" h="33">
                  <a:moveTo>
                    <a:pt x="1" y="33"/>
                  </a:move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1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4"/>
                  </a:lnTo>
                  <a:lnTo>
                    <a:pt x="1" y="11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7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17"/>
                  </a:lnTo>
                  <a:lnTo>
                    <a:pt x="1" y="24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30"/>
                  </a:lnTo>
                  <a:lnTo>
                    <a:pt x="1" y="31"/>
                  </a:lnTo>
                  <a:lnTo>
                    <a:pt x="1" y="3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265">
              <a:extLst>
                <a:ext uri="{FF2B5EF4-FFF2-40B4-BE49-F238E27FC236}">
                  <a16:creationId xmlns:a16="http://schemas.microsoft.com/office/drawing/2014/main" id="{3A5AF2C3-0C59-46A0-828D-CFFCFA5CD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" y="1775"/>
              <a:ext cx="26" cy="201"/>
            </a:xfrm>
            <a:custGeom>
              <a:avLst/>
              <a:gdLst>
                <a:gd name="T0" fmla="*/ 1 w 2"/>
                <a:gd name="T1" fmla="*/ 17 h 17"/>
                <a:gd name="T2" fmla="*/ 1 w 2"/>
                <a:gd name="T3" fmla="*/ 17 h 17"/>
                <a:gd name="T4" fmla="*/ 1 w 2"/>
                <a:gd name="T5" fmla="*/ 17 h 17"/>
                <a:gd name="T6" fmla="*/ 1 w 2"/>
                <a:gd name="T7" fmla="*/ 17 h 17"/>
                <a:gd name="T8" fmla="*/ 1 w 2"/>
                <a:gd name="T9" fmla="*/ 17 h 17"/>
                <a:gd name="T10" fmla="*/ 1 w 2"/>
                <a:gd name="T11" fmla="*/ 17 h 17"/>
                <a:gd name="T12" fmla="*/ 1 w 2"/>
                <a:gd name="T13" fmla="*/ 17 h 17"/>
                <a:gd name="T14" fmla="*/ 1 w 2"/>
                <a:gd name="T15" fmla="*/ 17 h 17"/>
                <a:gd name="T16" fmla="*/ 1 w 2"/>
                <a:gd name="T17" fmla="*/ 17 h 17"/>
                <a:gd name="T18" fmla="*/ 1 w 2"/>
                <a:gd name="T19" fmla="*/ 17 h 17"/>
                <a:gd name="T20" fmla="*/ 0 w 2"/>
                <a:gd name="T21" fmla="*/ 17 h 17"/>
                <a:gd name="T22" fmla="*/ 0 w 2"/>
                <a:gd name="T23" fmla="*/ 17 h 17"/>
                <a:gd name="T24" fmla="*/ 1 w 2"/>
                <a:gd name="T25" fmla="*/ 15 h 17"/>
                <a:gd name="T26" fmla="*/ 1 w 2"/>
                <a:gd name="T27" fmla="*/ 13 h 17"/>
                <a:gd name="T28" fmla="*/ 1 w 2"/>
                <a:gd name="T29" fmla="*/ 12 h 17"/>
                <a:gd name="T30" fmla="*/ 1 w 2"/>
                <a:gd name="T31" fmla="*/ 10 h 17"/>
                <a:gd name="T32" fmla="*/ 1 w 2"/>
                <a:gd name="T33" fmla="*/ 10 h 17"/>
                <a:gd name="T34" fmla="*/ 1 w 2"/>
                <a:gd name="T35" fmla="*/ 8 h 17"/>
                <a:gd name="T36" fmla="*/ 1 w 2"/>
                <a:gd name="T37" fmla="*/ 5 h 17"/>
                <a:gd name="T38" fmla="*/ 1 w 2"/>
                <a:gd name="T39" fmla="*/ 5 h 17"/>
                <a:gd name="T40" fmla="*/ 1 w 2"/>
                <a:gd name="T41" fmla="*/ 4 h 17"/>
                <a:gd name="T42" fmla="*/ 1 w 2"/>
                <a:gd name="T43" fmla="*/ 0 h 17"/>
                <a:gd name="T44" fmla="*/ 2 w 2"/>
                <a:gd name="T45" fmla="*/ 0 h 17"/>
                <a:gd name="T46" fmla="*/ 1 w 2"/>
                <a:gd name="T47" fmla="*/ 1 h 17"/>
                <a:gd name="T48" fmla="*/ 1 w 2"/>
                <a:gd name="T49" fmla="*/ 1 h 17"/>
                <a:gd name="T50" fmla="*/ 1 w 2"/>
                <a:gd name="T51" fmla="*/ 1 h 17"/>
                <a:gd name="T52" fmla="*/ 1 w 2"/>
                <a:gd name="T53" fmla="*/ 1 h 17"/>
                <a:gd name="T54" fmla="*/ 1 w 2"/>
                <a:gd name="T55" fmla="*/ 1 h 17"/>
                <a:gd name="T56" fmla="*/ 1 w 2"/>
                <a:gd name="T57" fmla="*/ 1 h 17"/>
                <a:gd name="T58" fmla="*/ 1 w 2"/>
                <a:gd name="T59" fmla="*/ 1 h 17"/>
                <a:gd name="T60" fmla="*/ 0 w 2"/>
                <a:gd name="T61" fmla="*/ 1 h 17"/>
                <a:gd name="T62" fmla="*/ 0 w 2"/>
                <a:gd name="T63" fmla="*/ 1 h 17"/>
                <a:gd name="T64" fmla="*/ 1 w 2"/>
                <a:gd name="T65" fmla="*/ 0 h 17"/>
                <a:gd name="T66" fmla="*/ 1 w 2"/>
                <a:gd name="T67" fmla="*/ 0 h 17"/>
                <a:gd name="T68" fmla="*/ 1 w 2"/>
                <a:gd name="T69" fmla="*/ 0 h 17"/>
                <a:gd name="T70" fmla="*/ 2 w 2"/>
                <a:gd name="T71" fmla="*/ 0 h 17"/>
                <a:gd name="T72" fmla="*/ 2 w 2"/>
                <a:gd name="T73" fmla="*/ 0 h 17"/>
                <a:gd name="T74" fmla="*/ 2 w 2"/>
                <a:gd name="T75" fmla="*/ 0 h 17"/>
                <a:gd name="T76" fmla="*/ 2 w 2"/>
                <a:gd name="T77" fmla="*/ 0 h 17"/>
                <a:gd name="T78" fmla="*/ 2 w 2"/>
                <a:gd name="T79" fmla="*/ 0 h 17"/>
                <a:gd name="T80" fmla="*/ 2 w 2"/>
                <a:gd name="T81" fmla="*/ 4 h 17"/>
                <a:gd name="T82" fmla="*/ 2 w 2"/>
                <a:gd name="T83" fmla="*/ 4 h 17"/>
                <a:gd name="T84" fmla="*/ 2 w 2"/>
                <a:gd name="T85" fmla="*/ 5 h 17"/>
                <a:gd name="T86" fmla="*/ 2 w 2"/>
                <a:gd name="T87" fmla="*/ 5 h 17"/>
                <a:gd name="T88" fmla="*/ 2 w 2"/>
                <a:gd name="T89" fmla="*/ 8 h 17"/>
                <a:gd name="T90" fmla="*/ 2 w 2"/>
                <a:gd name="T91" fmla="*/ 10 h 17"/>
                <a:gd name="T92" fmla="*/ 2 w 2"/>
                <a:gd name="T93" fmla="*/ 12 h 17"/>
                <a:gd name="T94" fmla="*/ 1 w 2"/>
                <a:gd name="T95" fmla="*/ 14 h 17"/>
                <a:gd name="T96" fmla="*/ 1 w 2"/>
                <a:gd name="T97" fmla="*/ 15 h 17"/>
                <a:gd name="T98" fmla="*/ 1 w 2"/>
                <a:gd name="T9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" h="17">
                  <a:moveTo>
                    <a:pt x="1" y="17"/>
                  </a:move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8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7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266">
              <a:extLst>
                <a:ext uri="{FF2B5EF4-FFF2-40B4-BE49-F238E27FC236}">
                  <a16:creationId xmlns:a16="http://schemas.microsoft.com/office/drawing/2014/main" id="{042D0E71-BE57-4B0E-B802-79F692C8A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1657"/>
              <a:ext cx="140" cy="130"/>
            </a:xfrm>
            <a:custGeom>
              <a:avLst/>
              <a:gdLst>
                <a:gd name="T0" fmla="*/ 1 w 11"/>
                <a:gd name="T1" fmla="*/ 10 h 11"/>
                <a:gd name="T2" fmla="*/ 1 w 11"/>
                <a:gd name="T3" fmla="*/ 10 h 11"/>
                <a:gd name="T4" fmla="*/ 1 w 11"/>
                <a:gd name="T5" fmla="*/ 10 h 11"/>
                <a:gd name="T6" fmla="*/ 1 w 11"/>
                <a:gd name="T7" fmla="*/ 11 h 11"/>
                <a:gd name="T8" fmla="*/ 0 w 11"/>
                <a:gd name="T9" fmla="*/ 11 h 11"/>
                <a:gd name="T10" fmla="*/ 0 w 11"/>
                <a:gd name="T11" fmla="*/ 11 h 11"/>
                <a:gd name="T12" fmla="*/ 0 w 11"/>
                <a:gd name="T13" fmla="*/ 11 h 11"/>
                <a:gd name="T14" fmla="*/ 0 w 11"/>
                <a:gd name="T15" fmla="*/ 11 h 11"/>
                <a:gd name="T16" fmla="*/ 0 w 11"/>
                <a:gd name="T17" fmla="*/ 11 h 11"/>
                <a:gd name="T18" fmla="*/ 0 w 11"/>
                <a:gd name="T19" fmla="*/ 10 h 11"/>
                <a:gd name="T20" fmla="*/ 0 w 11"/>
                <a:gd name="T21" fmla="*/ 10 h 11"/>
                <a:gd name="T22" fmla="*/ 0 w 11"/>
                <a:gd name="T23" fmla="*/ 10 h 11"/>
                <a:gd name="T24" fmla="*/ 0 w 11"/>
                <a:gd name="T25" fmla="*/ 9 h 11"/>
                <a:gd name="T26" fmla="*/ 0 w 11"/>
                <a:gd name="T27" fmla="*/ 7 h 11"/>
                <a:gd name="T28" fmla="*/ 1 w 11"/>
                <a:gd name="T29" fmla="*/ 6 h 11"/>
                <a:gd name="T30" fmla="*/ 1 w 11"/>
                <a:gd name="T31" fmla="*/ 6 h 11"/>
                <a:gd name="T32" fmla="*/ 1 w 11"/>
                <a:gd name="T33" fmla="*/ 5 h 11"/>
                <a:gd name="T34" fmla="*/ 2 w 11"/>
                <a:gd name="T35" fmla="*/ 4 h 11"/>
                <a:gd name="T36" fmla="*/ 2 w 11"/>
                <a:gd name="T37" fmla="*/ 4 h 11"/>
                <a:gd name="T38" fmla="*/ 2 w 11"/>
                <a:gd name="T39" fmla="*/ 3 h 11"/>
                <a:gd name="T40" fmla="*/ 2 w 11"/>
                <a:gd name="T41" fmla="*/ 3 h 11"/>
                <a:gd name="T42" fmla="*/ 3 w 11"/>
                <a:gd name="T43" fmla="*/ 2 h 11"/>
                <a:gd name="T44" fmla="*/ 3 w 11"/>
                <a:gd name="T45" fmla="*/ 2 h 11"/>
                <a:gd name="T46" fmla="*/ 4 w 11"/>
                <a:gd name="T47" fmla="*/ 2 h 11"/>
                <a:gd name="T48" fmla="*/ 5 w 11"/>
                <a:gd name="T49" fmla="*/ 1 h 11"/>
                <a:gd name="T50" fmla="*/ 7 w 11"/>
                <a:gd name="T51" fmla="*/ 0 h 11"/>
                <a:gd name="T52" fmla="*/ 9 w 11"/>
                <a:gd name="T53" fmla="*/ 0 h 11"/>
                <a:gd name="T54" fmla="*/ 9 w 11"/>
                <a:gd name="T55" fmla="*/ 0 h 11"/>
                <a:gd name="T56" fmla="*/ 10 w 11"/>
                <a:gd name="T57" fmla="*/ 0 h 11"/>
                <a:gd name="T58" fmla="*/ 11 w 11"/>
                <a:gd name="T59" fmla="*/ 0 h 11"/>
                <a:gd name="T60" fmla="*/ 11 w 11"/>
                <a:gd name="T61" fmla="*/ 0 h 11"/>
                <a:gd name="T62" fmla="*/ 11 w 11"/>
                <a:gd name="T63" fmla="*/ 0 h 11"/>
                <a:gd name="T64" fmla="*/ 11 w 11"/>
                <a:gd name="T65" fmla="*/ 0 h 11"/>
                <a:gd name="T66" fmla="*/ 11 w 11"/>
                <a:gd name="T67" fmla="*/ 0 h 11"/>
                <a:gd name="T68" fmla="*/ 11 w 11"/>
                <a:gd name="T69" fmla="*/ 0 h 11"/>
                <a:gd name="T70" fmla="*/ 11 w 11"/>
                <a:gd name="T71" fmla="*/ 0 h 11"/>
                <a:gd name="T72" fmla="*/ 11 w 11"/>
                <a:gd name="T73" fmla="*/ 0 h 11"/>
                <a:gd name="T74" fmla="*/ 11 w 11"/>
                <a:gd name="T75" fmla="*/ 0 h 11"/>
                <a:gd name="T76" fmla="*/ 11 w 11"/>
                <a:gd name="T77" fmla="*/ 0 h 11"/>
                <a:gd name="T78" fmla="*/ 11 w 11"/>
                <a:gd name="T79" fmla="*/ 0 h 11"/>
                <a:gd name="T80" fmla="*/ 10 w 11"/>
                <a:gd name="T81" fmla="*/ 0 h 11"/>
                <a:gd name="T82" fmla="*/ 10 w 11"/>
                <a:gd name="T83" fmla="*/ 0 h 11"/>
                <a:gd name="T84" fmla="*/ 9 w 11"/>
                <a:gd name="T85" fmla="*/ 1 h 11"/>
                <a:gd name="T86" fmla="*/ 7 w 11"/>
                <a:gd name="T87" fmla="*/ 1 h 11"/>
                <a:gd name="T88" fmla="*/ 6 w 11"/>
                <a:gd name="T89" fmla="*/ 2 h 11"/>
                <a:gd name="T90" fmla="*/ 4 w 11"/>
                <a:gd name="T91" fmla="*/ 2 h 11"/>
                <a:gd name="T92" fmla="*/ 4 w 11"/>
                <a:gd name="T93" fmla="*/ 2 h 11"/>
                <a:gd name="T94" fmla="*/ 4 w 11"/>
                <a:gd name="T95" fmla="*/ 3 h 11"/>
                <a:gd name="T96" fmla="*/ 3 w 11"/>
                <a:gd name="T97" fmla="*/ 3 h 11"/>
                <a:gd name="T98" fmla="*/ 3 w 11"/>
                <a:gd name="T99" fmla="*/ 3 h 11"/>
                <a:gd name="T100" fmla="*/ 2 w 11"/>
                <a:gd name="T101" fmla="*/ 4 h 11"/>
                <a:gd name="T102" fmla="*/ 2 w 11"/>
                <a:gd name="T103" fmla="*/ 4 h 11"/>
                <a:gd name="T104" fmla="*/ 2 w 11"/>
                <a:gd name="T105" fmla="*/ 5 h 11"/>
                <a:gd name="T106" fmla="*/ 1 w 11"/>
                <a:gd name="T107" fmla="*/ 7 h 11"/>
                <a:gd name="T108" fmla="*/ 1 w 11"/>
                <a:gd name="T109" fmla="*/ 7 h 11"/>
                <a:gd name="T110" fmla="*/ 1 w 11"/>
                <a:gd name="T111" fmla="*/ 7 h 11"/>
                <a:gd name="T112" fmla="*/ 1 w 11"/>
                <a:gd name="T113" fmla="*/ 9 h 11"/>
                <a:gd name="T114" fmla="*/ 1 w 11"/>
                <a:gd name="T1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" h="11"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9" y="1"/>
                  </a:lnTo>
                  <a:lnTo>
                    <a:pt x="7" y="1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9"/>
                  </a:lnTo>
                  <a:lnTo>
                    <a:pt x="1" y="1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267">
              <a:extLst>
                <a:ext uri="{FF2B5EF4-FFF2-40B4-BE49-F238E27FC236}">
                  <a16:creationId xmlns:a16="http://schemas.microsoft.com/office/drawing/2014/main" id="{FD0FBB47-8F0D-4E15-9629-D8008AC82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1681"/>
              <a:ext cx="114" cy="354"/>
            </a:xfrm>
            <a:custGeom>
              <a:avLst/>
              <a:gdLst>
                <a:gd name="T0" fmla="*/ 1 w 9"/>
                <a:gd name="T1" fmla="*/ 30 h 30"/>
                <a:gd name="T2" fmla="*/ 1 w 9"/>
                <a:gd name="T3" fmla="*/ 30 h 30"/>
                <a:gd name="T4" fmla="*/ 1 w 9"/>
                <a:gd name="T5" fmla="*/ 30 h 30"/>
                <a:gd name="T6" fmla="*/ 1 w 9"/>
                <a:gd name="T7" fmla="*/ 30 h 30"/>
                <a:gd name="T8" fmla="*/ 1 w 9"/>
                <a:gd name="T9" fmla="*/ 30 h 30"/>
                <a:gd name="T10" fmla="*/ 1 w 9"/>
                <a:gd name="T11" fmla="*/ 30 h 30"/>
                <a:gd name="T12" fmla="*/ 1 w 9"/>
                <a:gd name="T13" fmla="*/ 30 h 30"/>
                <a:gd name="T14" fmla="*/ 1 w 9"/>
                <a:gd name="T15" fmla="*/ 30 h 30"/>
                <a:gd name="T16" fmla="*/ 1 w 9"/>
                <a:gd name="T17" fmla="*/ 30 h 30"/>
                <a:gd name="T18" fmla="*/ 0 w 9"/>
                <a:gd name="T19" fmla="*/ 30 h 30"/>
                <a:gd name="T20" fmla="*/ 0 w 9"/>
                <a:gd name="T21" fmla="*/ 30 h 30"/>
                <a:gd name="T22" fmla="*/ 0 w 9"/>
                <a:gd name="T23" fmla="*/ 24 h 30"/>
                <a:gd name="T24" fmla="*/ 0 w 9"/>
                <a:gd name="T25" fmla="*/ 20 h 30"/>
                <a:gd name="T26" fmla="*/ 0 w 9"/>
                <a:gd name="T27" fmla="*/ 14 h 30"/>
                <a:gd name="T28" fmla="*/ 0 w 9"/>
                <a:gd name="T29" fmla="*/ 14 h 30"/>
                <a:gd name="T30" fmla="*/ 1 w 9"/>
                <a:gd name="T31" fmla="*/ 10 h 30"/>
                <a:gd name="T32" fmla="*/ 1 w 9"/>
                <a:gd name="T33" fmla="*/ 8 h 30"/>
                <a:gd name="T34" fmla="*/ 1 w 9"/>
                <a:gd name="T35" fmla="*/ 5 h 30"/>
                <a:gd name="T36" fmla="*/ 1 w 9"/>
                <a:gd name="T37" fmla="*/ 5 h 30"/>
                <a:gd name="T38" fmla="*/ 2 w 9"/>
                <a:gd name="T39" fmla="*/ 4 h 30"/>
                <a:gd name="T40" fmla="*/ 2 w 9"/>
                <a:gd name="T41" fmla="*/ 4 h 30"/>
                <a:gd name="T42" fmla="*/ 3 w 9"/>
                <a:gd name="T43" fmla="*/ 3 h 30"/>
                <a:gd name="T44" fmla="*/ 3 w 9"/>
                <a:gd name="T45" fmla="*/ 3 h 30"/>
                <a:gd name="T46" fmla="*/ 4 w 9"/>
                <a:gd name="T47" fmla="*/ 2 h 30"/>
                <a:gd name="T48" fmla="*/ 4 w 9"/>
                <a:gd name="T49" fmla="*/ 1 h 30"/>
                <a:gd name="T50" fmla="*/ 4 w 9"/>
                <a:gd name="T51" fmla="*/ 1 h 30"/>
                <a:gd name="T52" fmla="*/ 5 w 9"/>
                <a:gd name="T53" fmla="*/ 1 h 30"/>
                <a:gd name="T54" fmla="*/ 5 w 9"/>
                <a:gd name="T55" fmla="*/ 1 h 30"/>
                <a:gd name="T56" fmla="*/ 7 w 9"/>
                <a:gd name="T57" fmla="*/ 0 h 30"/>
                <a:gd name="T58" fmla="*/ 8 w 9"/>
                <a:gd name="T59" fmla="*/ 0 h 30"/>
                <a:gd name="T60" fmla="*/ 8 w 9"/>
                <a:gd name="T61" fmla="*/ 0 h 30"/>
                <a:gd name="T62" fmla="*/ 8 w 9"/>
                <a:gd name="T63" fmla="*/ 0 h 30"/>
                <a:gd name="T64" fmla="*/ 9 w 9"/>
                <a:gd name="T65" fmla="*/ 0 h 30"/>
                <a:gd name="T66" fmla="*/ 9 w 9"/>
                <a:gd name="T67" fmla="*/ 0 h 30"/>
                <a:gd name="T68" fmla="*/ 9 w 9"/>
                <a:gd name="T69" fmla="*/ 0 h 30"/>
                <a:gd name="T70" fmla="*/ 9 w 9"/>
                <a:gd name="T71" fmla="*/ 0 h 30"/>
                <a:gd name="T72" fmla="*/ 9 w 9"/>
                <a:gd name="T73" fmla="*/ 0 h 30"/>
                <a:gd name="T74" fmla="*/ 9 w 9"/>
                <a:gd name="T75" fmla="*/ 0 h 30"/>
                <a:gd name="T76" fmla="*/ 9 w 9"/>
                <a:gd name="T77" fmla="*/ 0 h 30"/>
                <a:gd name="T78" fmla="*/ 9 w 9"/>
                <a:gd name="T79" fmla="*/ 0 h 30"/>
                <a:gd name="T80" fmla="*/ 9 w 9"/>
                <a:gd name="T81" fmla="*/ 0 h 30"/>
                <a:gd name="T82" fmla="*/ 9 w 9"/>
                <a:gd name="T83" fmla="*/ 0 h 30"/>
                <a:gd name="T84" fmla="*/ 8 w 9"/>
                <a:gd name="T85" fmla="*/ 0 h 30"/>
                <a:gd name="T86" fmla="*/ 8 w 9"/>
                <a:gd name="T87" fmla="*/ 0 h 30"/>
                <a:gd name="T88" fmla="*/ 7 w 9"/>
                <a:gd name="T89" fmla="*/ 1 h 30"/>
                <a:gd name="T90" fmla="*/ 6 w 9"/>
                <a:gd name="T91" fmla="*/ 1 h 30"/>
                <a:gd name="T92" fmla="*/ 6 w 9"/>
                <a:gd name="T93" fmla="*/ 1 h 30"/>
                <a:gd name="T94" fmla="*/ 5 w 9"/>
                <a:gd name="T95" fmla="*/ 2 h 30"/>
                <a:gd name="T96" fmla="*/ 4 w 9"/>
                <a:gd name="T97" fmla="*/ 2 h 30"/>
                <a:gd name="T98" fmla="*/ 4 w 9"/>
                <a:gd name="T99" fmla="*/ 2 h 30"/>
                <a:gd name="T100" fmla="*/ 3 w 9"/>
                <a:gd name="T101" fmla="*/ 3 h 30"/>
                <a:gd name="T102" fmla="*/ 4 w 9"/>
                <a:gd name="T103" fmla="*/ 3 h 30"/>
                <a:gd name="T104" fmla="*/ 3 w 9"/>
                <a:gd name="T105" fmla="*/ 4 h 30"/>
                <a:gd name="T106" fmla="*/ 3 w 9"/>
                <a:gd name="T107" fmla="*/ 4 h 30"/>
                <a:gd name="T108" fmla="*/ 2 w 9"/>
                <a:gd name="T109" fmla="*/ 6 h 30"/>
                <a:gd name="T110" fmla="*/ 2 w 9"/>
                <a:gd name="T111" fmla="*/ 6 h 30"/>
                <a:gd name="T112" fmla="*/ 2 w 9"/>
                <a:gd name="T113" fmla="*/ 8 h 30"/>
                <a:gd name="T114" fmla="*/ 1 w 9"/>
                <a:gd name="T115" fmla="*/ 11 h 30"/>
                <a:gd name="T116" fmla="*/ 1 w 9"/>
                <a:gd name="T117" fmla="*/ 14 h 30"/>
                <a:gd name="T118" fmla="*/ 1 w 9"/>
                <a:gd name="T119" fmla="*/ 20 h 30"/>
                <a:gd name="T120" fmla="*/ 1 w 9"/>
                <a:gd name="T121" fmla="*/ 24 h 30"/>
                <a:gd name="T122" fmla="*/ 1 w 9"/>
                <a:gd name="T12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" h="30">
                  <a:moveTo>
                    <a:pt x="1" y="30"/>
                  </a:move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1" y="8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20"/>
                  </a:lnTo>
                  <a:lnTo>
                    <a:pt x="1" y="24"/>
                  </a:lnTo>
                  <a:lnTo>
                    <a:pt x="1" y="3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268">
              <a:extLst>
                <a:ext uri="{FF2B5EF4-FFF2-40B4-BE49-F238E27FC236}">
                  <a16:creationId xmlns:a16="http://schemas.microsoft.com/office/drawing/2014/main" id="{DC330954-3EF9-43E5-B311-9B144EB1F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1799"/>
              <a:ext cx="25" cy="201"/>
            </a:xfrm>
            <a:custGeom>
              <a:avLst/>
              <a:gdLst>
                <a:gd name="T0" fmla="*/ 1 w 2"/>
                <a:gd name="T1" fmla="*/ 17 h 17"/>
                <a:gd name="T2" fmla="*/ 1 w 2"/>
                <a:gd name="T3" fmla="*/ 17 h 17"/>
                <a:gd name="T4" fmla="*/ 1 w 2"/>
                <a:gd name="T5" fmla="*/ 17 h 17"/>
                <a:gd name="T6" fmla="*/ 1 w 2"/>
                <a:gd name="T7" fmla="*/ 17 h 17"/>
                <a:gd name="T8" fmla="*/ 1 w 2"/>
                <a:gd name="T9" fmla="*/ 17 h 17"/>
                <a:gd name="T10" fmla="*/ 1 w 2"/>
                <a:gd name="T11" fmla="*/ 17 h 17"/>
                <a:gd name="T12" fmla="*/ 0 w 2"/>
                <a:gd name="T13" fmla="*/ 17 h 17"/>
                <a:gd name="T14" fmla="*/ 0 w 2"/>
                <a:gd name="T15" fmla="*/ 17 h 17"/>
                <a:gd name="T16" fmla="*/ 0 w 2"/>
                <a:gd name="T17" fmla="*/ 17 h 17"/>
                <a:gd name="T18" fmla="*/ 0 w 2"/>
                <a:gd name="T19" fmla="*/ 17 h 17"/>
                <a:gd name="T20" fmla="*/ 1 w 2"/>
                <a:gd name="T21" fmla="*/ 8 h 17"/>
                <a:gd name="T22" fmla="*/ 1 w 2"/>
                <a:gd name="T23" fmla="*/ 8 h 17"/>
                <a:gd name="T24" fmla="*/ 1 w 2"/>
                <a:gd name="T25" fmla="*/ 0 h 17"/>
                <a:gd name="T26" fmla="*/ 1 w 2"/>
                <a:gd name="T27" fmla="*/ 0 h 17"/>
                <a:gd name="T28" fmla="*/ 1 w 2"/>
                <a:gd name="T29" fmla="*/ 0 h 17"/>
                <a:gd name="T30" fmla="*/ 1 w 2"/>
                <a:gd name="T31" fmla="*/ 0 h 17"/>
                <a:gd name="T32" fmla="*/ 1 w 2"/>
                <a:gd name="T33" fmla="*/ 0 h 17"/>
                <a:gd name="T34" fmla="*/ 2 w 2"/>
                <a:gd name="T35" fmla="*/ 0 h 17"/>
                <a:gd name="T36" fmla="*/ 2 w 2"/>
                <a:gd name="T37" fmla="*/ 0 h 17"/>
                <a:gd name="T38" fmla="*/ 2 w 2"/>
                <a:gd name="T39" fmla="*/ 0 h 17"/>
                <a:gd name="T40" fmla="*/ 2 w 2"/>
                <a:gd name="T41" fmla="*/ 0 h 17"/>
                <a:gd name="T42" fmla="*/ 1 w 2"/>
                <a:gd name="T43" fmla="*/ 9 h 17"/>
                <a:gd name="T44" fmla="*/ 1 w 2"/>
                <a:gd name="T45" fmla="*/ 17 h 17"/>
                <a:gd name="T46" fmla="*/ 1 w 2"/>
                <a:gd name="T47" fmla="*/ 17 h 17"/>
                <a:gd name="T48" fmla="*/ 1 w 2"/>
                <a:gd name="T49" fmla="*/ 17 h 17"/>
                <a:gd name="T50" fmla="*/ 1 w 2"/>
                <a:gd name="T51" fmla="*/ 17 h 17"/>
                <a:gd name="T52" fmla="*/ 1 w 2"/>
                <a:gd name="T53" fmla="*/ 17 h 17"/>
                <a:gd name="T54" fmla="*/ 1 w 2"/>
                <a:gd name="T55" fmla="*/ 17 h 17"/>
                <a:gd name="T56" fmla="*/ 1 w 2"/>
                <a:gd name="T57" fmla="*/ 17 h 17"/>
                <a:gd name="T58" fmla="*/ 1 w 2"/>
                <a:gd name="T59" fmla="*/ 17 h 17"/>
                <a:gd name="T60" fmla="*/ 1 w 2"/>
                <a:gd name="T61" fmla="*/ 17 h 17"/>
                <a:gd name="T62" fmla="*/ 1 w 2"/>
                <a:gd name="T63" fmla="*/ 17 h 17"/>
                <a:gd name="T64" fmla="*/ 1 w 2"/>
                <a:gd name="T65" fmla="*/ 17 h 17"/>
                <a:gd name="T66" fmla="*/ 1 w 2"/>
                <a:gd name="T67" fmla="*/ 17 h 17"/>
                <a:gd name="T68" fmla="*/ 1 w 2"/>
                <a:gd name="T69" fmla="*/ 9 h 17"/>
                <a:gd name="T70" fmla="*/ 1 w 2"/>
                <a:gd name="T71" fmla="*/ 9 h 17"/>
                <a:gd name="T72" fmla="*/ 1 w 2"/>
                <a:gd name="T73" fmla="*/ 0 h 17"/>
                <a:gd name="T74" fmla="*/ 2 w 2"/>
                <a:gd name="T75" fmla="*/ 0 h 17"/>
                <a:gd name="T76" fmla="*/ 1 w 2"/>
                <a:gd name="T77" fmla="*/ 8 h 17"/>
                <a:gd name="T78" fmla="*/ 1 w 2"/>
                <a:gd name="T7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" h="17">
                  <a:moveTo>
                    <a:pt x="1" y="17"/>
                  </a:move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9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8"/>
                  </a:lnTo>
                  <a:lnTo>
                    <a:pt x="1" y="17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269">
              <a:extLst>
                <a:ext uri="{FF2B5EF4-FFF2-40B4-BE49-F238E27FC236}">
                  <a16:creationId xmlns:a16="http://schemas.microsoft.com/office/drawing/2014/main" id="{FB441CE9-DCBE-4C65-B382-FA7A5ED5A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1705"/>
              <a:ext cx="26" cy="259"/>
            </a:xfrm>
            <a:custGeom>
              <a:avLst/>
              <a:gdLst>
                <a:gd name="T0" fmla="*/ 1 w 2"/>
                <a:gd name="T1" fmla="*/ 22 h 22"/>
                <a:gd name="T2" fmla="*/ 1 w 2"/>
                <a:gd name="T3" fmla="*/ 22 h 22"/>
                <a:gd name="T4" fmla="*/ 1 w 2"/>
                <a:gd name="T5" fmla="*/ 22 h 22"/>
                <a:gd name="T6" fmla="*/ 1 w 2"/>
                <a:gd name="T7" fmla="*/ 22 h 22"/>
                <a:gd name="T8" fmla="*/ 1 w 2"/>
                <a:gd name="T9" fmla="*/ 22 h 22"/>
                <a:gd name="T10" fmla="*/ 1 w 2"/>
                <a:gd name="T11" fmla="*/ 22 h 22"/>
                <a:gd name="T12" fmla="*/ 1 w 2"/>
                <a:gd name="T13" fmla="*/ 22 h 22"/>
                <a:gd name="T14" fmla="*/ 1 w 2"/>
                <a:gd name="T15" fmla="*/ 22 h 22"/>
                <a:gd name="T16" fmla="*/ 1 w 2"/>
                <a:gd name="T17" fmla="*/ 22 h 22"/>
                <a:gd name="T18" fmla="*/ 1 w 2"/>
                <a:gd name="T19" fmla="*/ 22 h 22"/>
                <a:gd name="T20" fmla="*/ 1 w 2"/>
                <a:gd name="T21" fmla="*/ 22 h 22"/>
                <a:gd name="T22" fmla="*/ 1 w 2"/>
                <a:gd name="T23" fmla="*/ 22 h 22"/>
                <a:gd name="T24" fmla="*/ 1 w 2"/>
                <a:gd name="T25" fmla="*/ 22 h 22"/>
                <a:gd name="T26" fmla="*/ 0 w 2"/>
                <a:gd name="T27" fmla="*/ 21 h 22"/>
                <a:gd name="T28" fmla="*/ 0 w 2"/>
                <a:gd name="T29" fmla="*/ 20 h 22"/>
                <a:gd name="T30" fmla="*/ 0 w 2"/>
                <a:gd name="T31" fmla="*/ 19 h 22"/>
                <a:gd name="T32" fmla="*/ 0 w 2"/>
                <a:gd name="T33" fmla="*/ 18 h 22"/>
                <a:gd name="T34" fmla="*/ 0 w 2"/>
                <a:gd name="T35" fmla="*/ 12 h 22"/>
                <a:gd name="T36" fmla="*/ 0 w 2"/>
                <a:gd name="T37" fmla="*/ 12 h 22"/>
                <a:gd name="T38" fmla="*/ 0 w 2"/>
                <a:gd name="T39" fmla="*/ 7 h 22"/>
                <a:gd name="T40" fmla="*/ 1 w 2"/>
                <a:gd name="T41" fmla="*/ 3 h 22"/>
                <a:gd name="T42" fmla="*/ 1 w 2"/>
                <a:gd name="T43" fmla="*/ 1 h 22"/>
                <a:gd name="T44" fmla="*/ 1 w 2"/>
                <a:gd name="T45" fmla="*/ 0 h 22"/>
                <a:gd name="T46" fmla="*/ 1 w 2"/>
                <a:gd name="T47" fmla="*/ 0 h 22"/>
                <a:gd name="T48" fmla="*/ 1 w 2"/>
                <a:gd name="T49" fmla="*/ 0 h 22"/>
                <a:gd name="T50" fmla="*/ 2 w 2"/>
                <a:gd name="T51" fmla="*/ 0 h 22"/>
                <a:gd name="T52" fmla="*/ 2 w 2"/>
                <a:gd name="T53" fmla="*/ 0 h 22"/>
                <a:gd name="T54" fmla="*/ 2 w 2"/>
                <a:gd name="T55" fmla="*/ 1 h 22"/>
                <a:gd name="T56" fmla="*/ 2 w 2"/>
                <a:gd name="T57" fmla="*/ 1 h 22"/>
                <a:gd name="T58" fmla="*/ 2 w 2"/>
                <a:gd name="T59" fmla="*/ 1 h 22"/>
                <a:gd name="T60" fmla="*/ 2 w 2"/>
                <a:gd name="T61" fmla="*/ 3 h 22"/>
                <a:gd name="T62" fmla="*/ 1 w 2"/>
                <a:gd name="T63" fmla="*/ 7 h 22"/>
                <a:gd name="T64" fmla="*/ 1 w 2"/>
                <a:gd name="T65" fmla="*/ 12 h 22"/>
                <a:gd name="T66" fmla="*/ 1 w 2"/>
                <a:gd name="T67" fmla="*/ 18 h 22"/>
                <a:gd name="T68" fmla="*/ 1 w 2"/>
                <a:gd name="T69" fmla="*/ 19 h 22"/>
                <a:gd name="T70" fmla="*/ 1 w 2"/>
                <a:gd name="T71" fmla="*/ 19 h 22"/>
                <a:gd name="T72" fmla="*/ 1 w 2"/>
                <a:gd name="T73" fmla="*/ 20 h 22"/>
                <a:gd name="T74" fmla="*/ 1 w 2"/>
                <a:gd name="T75" fmla="*/ 21 h 22"/>
                <a:gd name="T76" fmla="*/ 1 w 2"/>
                <a:gd name="T77" fmla="*/ 21 h 22"/>
                <a:gd name="T78" fmla="*/ 1 w 2"/>
                <a:gd name="T7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" h="22"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1" y="7"/>
                  </a:lnTo>
                  <a:lnTo>
                    <a:pt x="1" y="12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270">
              <a:extLst>
                <a:ext uri="{FF2B5EF4-FFF2-40B4-BE49-F238E27FC236}">
                  <a16:creationId xmlns:a16="http://schemas.microsoft.com/office/drawing/2014/main" id="{2ED5E3C9-42CA-41D9-8597-F5848FC20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" y="1681"/>
              <a:ext cx="13" cy="35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0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0 h 3"/>
                <a:gd name="T12" fmla="*/ 1 w 1"/>
                <a:gd name="T13" fmla="*/ 1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3 h 3"/>
                <a:gd name="T22" fmla="*/ 1 w 1"/>
                <a:gd name="T23" fmla="*/ 3 h 3"/>
                <a:gd name="T24" fmla="*/ 1 w 1"/>
                <a:gd name="T25" fmla="*/ 3 h 3"/>
                <a:gd name="T26" fmla="*/ 1 w 1"/>
                <a:gd name="T27" fmla="*/ 3 h 3"/>
                <a:gd name="T28" fmla="*/ 1 w 1"/>
                <a:gd name="T29" fmla="*/ 3 h 3"/>
                <a:gd name="T30" fmla="*/ 0 w 1"/>
                <a:gd name="T31" fmla="*/ 3 h 3"/>
                <a:gd name="T32" fmla="*/ 0 w 1"/>
                <a:gd name="T33" fmla="*/ 3 h 3"/>
                <a:gd name="T34" fmla="*/ 0 w 1"/>
                <a:gd name="T35" fmla="*/ 3 h 3"/>
                <a:gd name="T36" fmla="*/ 0 w 1"/>
                <a:gd name="T37" fmla="*/ 3 h 3"/>
                <a:gd name="T38" fmla="*/ 0 w 1"/>
                <a:gd name="T39" fmla="*/ 3 h 3"/>
                <a:gd name="T40" fmla="*/ 0 w 1"/>
                <a:gd name="T41" fmla="*/ 3 h 3"/>
                <a:gd name="T42" fmla="*/ 0 w 1"/>
                <a:gd name="T43" fmla="*/ 3 h 3"/>
                <a:gd name="T44" fmla="*/ 0 w 1"/>
                <a:gd name="T45" fmla="*/ 1 h 3"/>
                <a:gd name="T46" fmla="*/ 0 w 1"/>
                <a:gd name="T47" fmla="*/ 1 h 3"/>
                <a:gd name="T48" fmla="*/ 0 w 1"/>
                <a:gd name="T49" fmla="*/ 1 h 3"/>
                <a:gd name="T50" fmla="*/ 0 w 1"/>
                <a:gd name="T51" fmla="*/ 1 h 3"/>
                <a:gd name="T52" fmla="*/ 0 w 1"/>
                <a:gd name="T5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271">
              <a:extLst>
                <a:ext uri="{FF2B5EF4-FFF2-40B4-BE49-F238E27FC236}">
                  <a16:creationId xmlns:a16="http://schemas.microsoft.com/office/drawing/2014/main" id="{80E17C86-0559-4405-9E83-C8B3B4DCE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1646"/>
              <a:ext cx="152" cy="106"/>
            </a:xfrm>
            <a:custGeom>
              <a:avLst/>
              <a:gdLst>
                <a:gd name="T0" fmla="*/ 0 w 12"/>
                <a:gd name="T1" fmla="*/ 7 h 9"/>
                <a:gd name="T2" fmla="*/ 0 w 12"/>
                <a:gd name="T3" fmla="*/ 7 h 9"/>
                <a:gd name="T4" fmla="*/ 0 w 12"/>
                <a:gd name="T5" fmla="*/ 7 h 9"/>
                <a:gd name="T6" fmla="*/ 1 w 12"/>
                <a:gd name="T7" fmla="*/ 8 h 9"/>
                <a:gd name="T8" fmla="*/ 1 w 12"/>
                <a:gd name="T9" fmla="*/ 8 h 9"/>
                <a:gd name="T10" fmla="*/ 1 w 12"/>
                <a:gd name="T11" fmla="*/ 8 h 9"/>
                <a:gd name="T12" fmla="*/ 1 w 12"/>
                <a:gd name="T13" fmla="*/ 8 h 9"/>
                <a:gd name="T14" fmla="*/ 2 w 12"/>
                <a:gd name="T15" fmla="*/ 6 h 9"/>
                <a:gd name="T16" fmla="*/ 3 w 12"/>
                <a:gd name="T17" fmla="*/ 5 h 9"/>
                <a:gd name="T18" fmla="*/ 4 w 12"/>
                <a:gd name="T19" fmla="*/ 4 h 9"/>
                <a:gd name="T20" fmla="*/ 6 w 12"/>
                <a:gd name="T21" fmla="*/ 4 h 9"/>
                <a:gd name="T22" fmla="*/ 8 w 12"/>
                <a:gd name="T23" fmla="*/ 2 h 9"/>
                <a:gd name="T24" fmla="*/ 8 w 12"/>
                <a:gd name="T25" fmla="*/ 2 h 9"/>
                <a:gd name="T26" fmla="*/ 9 w 12"/>
                <a:gd name="T27" fmla="*/ 1 h 9"/>
                <a:gd name="T28" fmla="*/ 10 w 12"/>
                <a:gd name="T29" fmla="*/ 0 h 9"/>
                <a:gd name="T30" fmla="*/ 11 w 12"/>
                <a:gd name="T31" fmla="*/ 0 h 9"/>
                <a:gd name="T32" fmla="*/ 12 w 12"/>
                <a:gd name="T33" fmla="*/ 0 h 9"/>
                <a:gd name="T34" fmla="*/ 12 w 12"/>
                <a:gd name="T35" fmla="*/ 0 h 9"/>
                <a:gd name="T36" fmla="*/ 12 w 12"/>
                <a:gd name="T37" fmla="*/ 0 h 9"/>
                <a:gd name="T38" fmla="*/ 12 w 12"/>
                <a:gd name="T39" fmla="*/ 1 h 9"/>
                <a:gd name="T40" fmla="*/ 12 w 12"/>
                <a:gd name="T41" fmla="*/ 1 h 9"/>
                <a:gd name="T42" fmla="*/ 11 w 12"/>
                <a:gd name="T43" fmla="*/ 1 h 9"/>
                <a:gd name="T44" fmla="*/ 10 w 12"/>
                <a:gd name="T45" fmla="*/ 1 h 9"/>
                <a:gd name="T46" fmla="*/ 9 w 12"/>
                <a:gd name="T47" fmla="*/ 2 h 9"/>
                <a:gd name="T48" fmla="*/ 8 w 12"/>
                <a:gd name="T49" fmla="*/ 3 h 9"/>
                <a:gd name="T50" fmla="*/ 8 w 12"/>
                <a:gd name="T51" fmla="*/ 3 h 9"/>
                <a:gd name="T52" fmla="*/ 8 w 12"/>
                <a:gd name="T53" fmla="*/ 3 h 9"/>
                <a:gd name="T54" fmla="*/ 5 w 12"/>
                <a:gd name="T55" fmla="*/ 5 h 9"/>
                <a:gd name="T56" fmla="*/ 2 w 12"/>
                <a:gd name="T57" fmla="*/ 7 h 9"/>
                <a:gd name="T58" fmla="*/ 1 w 12"/>
                <a:gd name="T59" fmla="*/ 8 h 9"/>
                <a:gd name="T60" fmla="*/ 1 w 12"/>
                <a:gd name="T61" fmla="*/ 9 h 9"/>
                <a:gd name="T62" fmla="*/ 1 w 12"/>
                <a:gd name="T63" fmla="*/ 9 h 9"/>
                <a:gd name="T64" fmla="*/ 0 w 12"/>
                <a:gd name="T65" fmla="*/ 9 h 9"/>
                <a:gd name="T66" fmla="*/ 0 w 12"/>
                <a:gd name="T67" fmla="*/ 9 h 9"/>
                <a:gd name="T68" fmla="*/ 0 w 12"/>
                <a:gd name="T69" fmla="*/ 9 h 9"/>
                <a:gd name="T70" fmla="*/ 0 w 12"/>
                <a:gd name="T7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" h="9">
                  <a:moveTo>
                    <a:pt x="0" y="8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7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4"/>
                  </a:lnTo>
                  <a:lnTo>
                    <a:pt x="5" y="5"/>
                  </a:lnTo>
                  <a:lnTo>
                    <a:pt x="4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272">
              <a:extLst>
                <a:ext uri="{FF2B5EF4-FFF2-40B4-BE49-F238E27FC236}">
                  <a16:creationId xmlns:a16="http://schemas.microsoft.com/office/drawing/2014/main" id="{FDAA555B-D187-4027-B9F0-B7F69085A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4" y="1669"/>
              <a:ext cx="26" cy="12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1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0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1 w 2"/>
                <a:gd name="T37" fmla="*/ 1 h 1"/>
                <a:gd name="T38" fmla="*/ 0 w 2"/>
                <a:gd name="T3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273">
              <a:extLst>
                <a:ext uri="{FF2B5EF4-FFF2-40B4-BE49-F238E27FC236}">
                  <a16:creationId xmlns:a16="http://schemas.microsoft.com/office/drawing/2014/main" id="{F0313A87-9082-4BAD-9EBF-560A28B5D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1893"/>
              <a:ext cx="268" cy="107"/>
            </a:xfrm>
            <a:custGeom>
              <a:avLst/>
              <a:gdLst>
                <a:gd name="T0" fmla="*/ 1 w 21"/>
                <a:gd name="T1" fmla="*/ 8 h 9"/>
                <a:gd name="T2" fmla="*/ 1 w 21"/>
                <a:gd name="T3" fmla="*/ 8 h 9"/>
                <a:gd name="T4" fmla="*/ 1 w 21"/>
                <a:gd name="T5" fmla="*/ 8 h 9"/>
                <a:gd name="T6" fmla="*/ 1 w 21"/>
                <a:gd name="T7" fmla="*/ 8 h 9"/>
                <a:gd name="T8" fmla="*/ 1 w 21"/>
                <a:gd name="T9" fmla="*/ 9 h 9"/>
                <a:gd name="T10" fmla="*/ 1 w 21"/>
                <a:gd name="T11" fmla="*/ 9 h 9"/>
                <a:gd name="T12" fmla="*/ 1 w 21"/>
                <a:gd name="T13" fmla="*/ 9 h 9"/>
                <a:gd name="T14" fmla="*/ 1 w 21"/>
                <a:gd name="T15" fmla="*/ 9 h 9"/>
                <a:gd name="T16" fmla="*/ 1 w 21"/>
                <a:gd name="T17" fmla="*/ 9 h 9"/>
                <a:gd name="T18" fmla="*/ 1 w 21"/>
                <a:gd name="T19" fmla="*/ 9 h 9"/>
                <a:gd name="T20" fmla="*/ 1 w 21"/>
                <a:gd name="T21" fmla="*/ 8 h 9"/>
                <a:gd name="T22" fmla="*/ 1 w 21"/>
                <a:gd name="T23" fmla="*/ 8 h 9"/>
                <a:gd name="T24" fmla="*/ 0 w 21"/>
                <a:gd name="T25" fmla="*/ 7 h 9"/>
                <a:gd name="T26" fmla="*/ 0 w 21"/>
                <a:gd name="T27" fmla="*/ 7 h 9"/>
                <a:gd name="T28" fmla="*/ 1 w 21"/>
                <a:gd name="T29" fmla="*/ 6 h 9"/>
                <a:gd name="T30" fmla="*/ 1 w 21"/>
                <a:gd name="T31" fmla="*/ 6 h 9"/>
                <a:gd name="T32" fmla="*/ 1 w 21"/>
                <a:gd name="T33" fmla="*/ 4 h 9"/>
                <a:gd name="T34" fmla="*/ 2 w 21"/>
                <a:gd name="T35" fmla="*/ 4 h 9"/>
                <a:gd name="T36" fmla="*/ 2 w 21"/>
                <a:gd name="T37" fmla="*/ 4 h 9"/>
                <a:gd name="T38" fmla="*/ 3 w 21"/>
                <a:gd name="T39" fmla="*/ 3 h 9"/>
                <a:gd name="T40" fmla="*/ 3 w 21"/>
                <a:gd name="T41" fmla="*/ 3 h 9"/>
                <a:gd name="T42" fmla="*/ 5 w 21"/>
                <a:gd name="T43" fmla="*/ 2 h 9"/>
                <a:gd name="T44" fmla="*/ 7 w 21"/>
                <a:gd name="T45" fmla="*/ 2 h 9"/>
                <a:gd name="T46" fmla="*/ 7 w 21"/>
                <a:gd name="T47" fmla="*/ 2 h 9"/>
                <a:gd name="T48" fmla="*/ 8 w 21"/>
                <a:gd name="T49" fmla="*/ 1 h 9"/>
                <a:gd name="T50" fmla="*/ 10 w 21"/>
                <a:gd name="T51" fmla="*/ 1 h 9"/>
                <a:gd name="T52" fmla="*/ 13 w 21"/>
                <a:gd name="T53" fmla="*/ 0 h 9"/>
                <a:gd name="T54" fmla="*/ 15 w 21"/>
                <a:gd name="T55" fmla="*/ 0 h 9"/>
                <a:gd name="T56" fmla="*/ 15 w 21"/>
                <a:gd name="T57" fmla="*/ 0 h 9"/>
                <a:gd name="T58" fmla="*/ 18 w 21"/>
                <a:gd name="T59" fmla="*/ 0 h 9"/>
                <a:gd name="T60" fmla="*/ 21 w 21"/>
                <a:gd name="T61" fmla="*/ 0 h 9"/>
                <a:gd name="T62" fmla="*/ 21 w 21"/>
                <a:gd name="T63" fmla="*/ 0 h 9"/>
                <a:gd name="T64" fmla="*/ 21 w 21"/>
                <a:gd name="T65" fmla="*/ 0 h 9"/>
                <a:gd name="T66" fmla="*/ 21 w 21"/>
                <a:gd name="T67" fmla="*/ 0 h 9"/>
                <a:gd name="T68" fmla="*/ 21 w 21"/>
                <a:gd name="T69" fmla="*/ 0 h 9"/>
                <a:gd name="T70" fmla="*/ 21 w 21"/>
                <a:gd name="T71" fmla="*/ 0 h 9"/>
                <a:gd name="T72" fmla="*/ 21 w 21"/>
                <a:gd name="T73" fmla="*/ 1 h 9"/>
                <a:gd name="T74" fmla="*/ 21 w 21"/>
                <a:gd name="T75" fmla="*/ 1 h 9"/>
                <a:gd name="T76" fmla="*/ 21 w 21"/>
                <a:gd name="T77" fmla="*/ 1 h 9"/>
                <a:gd name="T78" fmla="*/ 20 w 21"/>
                <a:gd name="T79" fmla="*/ 1 h 9"/>
                <a:gd name="T80" fmla="*/ 20 w 21"/>
                <a:gd name="T81" fmla="*/ 1 h 9"/>
                <a:gd name="T82" fmla="*/ 18 w 21"/>
                <a:gd name="T83" fmla="*/ 1 h 9"/>
                <a:gd name="T84" fmla="*/ 15 w 21"/>
                <a:gd name="T85" fmla="*/ 1 h 9"/>
                <a:gd name="T86" fmla="*/ 13 w 21"/>
                <a:gd name="T87" fmla="*/ 1 h 9"/>
                <a:gd name="T88" fmla="*/ 10 w 21"/>
                <a:gd name="T89" fmla="*/ 1 h 9"/>
                <a:gd name="T90" fmla="*/ 10 w 21"/>
                <a:gd name="T91" fmla="*/ 1 h 9"/>
                <a:gd name="T92" fmla="*/ 9 w 21"/>
                <a:gd name="T93" fmla="*/ 2 h 9"/>
                <a:gd name="T94" fmla="*/ 7 w 21"/>
                <a:gd name="T95" fmla="*/ 2 h 9"/>
                <a:gd name="T96" fmla="*/ 7 w 21"/>
                <a:gd name="T97" fmla="*/ 2 h 9"/>
                <a:gd name="T98" fmla="*/ 5 w 21"/>
                <a:gd name="T99" fmla="*/ 3 h 9"/>
                <a:gd name="T100" fmla="*/ 4 w 21"/>
                <a:gd name="T101" fmla="*/ 4 h 9"/>
                <a:gd name="T102" fmla="*/ 4 w 21"/>
                <a:gd name="T103" fmla="*/ 4 h 9"/>
                <a:gd name="T104" fmla="*/ 2 w 21"/>
                <a:gd name="T105" fmla="*/ 4 h 9"/>
                <a:gd name="T106" fmla="*/ 2 w 21"/>
                <a:gd name="T107" fmla="*/ 4 h 9"/>
                <a:gd name="T108" fmla="*/ 2 w 21"/>
                <a:gd name="T109" fmla="*/ 5 h 9"/>
                <a:gd name="T110" fmla="*/ 2 w 21"/>
                <a:gd name="T111" fmla="*/ 5 h 9"/>
                <a:gd name="T112" fmla="*/ 1 w 21"/>
                <a:gd name="T113" fmla="*/ 6 h 9"/>
                <a:gd name="T114" fmla="*/ 1 w 21"/>
                <a:gd name="T115" fmla="*/ 6 h 9"/>
                <a:gd name="T116" fmla="*/ 1 w 21"/>
                <a:gd name="T117" fmla="*/ 7 h 9"/>
                <a:gd name="T118" fmla="*/ 1 w 21"/>
                <a:gd name="T119" fmla="*/ 7 h 9"/>
                <a:gd name="T120" fmla="*/ 1 w 21"/>
                <a:gd name="T12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" h="9">
                  <a:moveTo>
                    <a:pt x="1" y="8"/>
                  </a:move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1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274">
              <a:extLst>
                <a:ext uri="{FF2B5EF4-FFF2-40B4-BE49-F238E27FC236}">
                  <a16:creationId xmlns:a16="http://schemas.microsoft.com/office/drawing/2014/main" id="{4177B6A2-74FD-4308-B9E1-472D9AE2D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1634"/>
              <a:ext cx="203" cy="248"/>
            </a:xfrm>
            <a:custGeom>
              <a:avLst/>
              <a:gdLst>
                <a:gd name="T0" fmla="*/ 0 w 16"/>
                <a:gd name="T1" fmla="*/ 21 h 21"/>
                <a:gd name="T2" fmla="*/ 0 w 16"/>
                <a:gd name="T3" fmla="*/ 21 h 21"/>
                <a:gd name="T4" fmla="*/ 0 w 16"/>
                <a:gd name="T5" fmla="*/ 21 h 21"/>
                <a:gd name="T6" fmla="*/ 0 w 16"/>
                <a:gd name="T7" fmla="*/ 21 h 21"/>
                <a:gd name="T8" fmla="*/ 0 w 16"/>
                <a:gd name="T9" fmla="*/ 21 h 21"/>
                <a:gd name="T10" fmla="*/ 0 w 16"/>
                <a:gd name="T11" fmla="*/ 21 h 21"/>
                <a:gd name="T12" fmla="*/ 0 w 16"/>
                <a:gd name="T13" fmla="*/ 21 h 21"/>
                <a:gd name="T14" fmla="*/ 0 w 16"/>
                <a:gd name="T15" fmla="*/ 21 h 21"/>
                <a:gd name="T16" fmla="*/ 0 w 16"/>
                <a:gd name="T17" fmla="*/ 21 h 21"/>
                <a:gd name="T18" fmla="*/ 0 w 16"/>
                <a:gd name="T19" fmla="*/ 21 h 21"/>
                <a:gd name="T20" fmla="*/ 0 w 16"/>
                <a:gd name="T21" fmla="*/ 21 h 21"/>
                <a:gd name="T22" fmla="*/ 0 w 16"/>
                <a:gd name="T23" fmla="*/ 14 h 21"/>
                <a:gd name="T24" fmla="*/ 1 w 16"/>
                <a:gd name="T25" fmla="*/ 9 h 21"/>
                <a:gd name="T26" fmla="*/ 2 w 16"/>
                <a:gd name="T27" fmla="*/ 6 h 21"/>
                <a:gd name="T28" fmla="*/ 3 w 16"/>
                <a:gd name="T29" fmla="*/ 4 h 21"/>
                <a:gd name="T30" fmla="*/ 3 w 16"/>
                <a:gd name="T31" fmla="*/ 4 h 21"/>
                <a:gd name="T32" fmla="*/ 3 w 16"/>
                <a:gd name="T33" fmla="*/ 3 h 21"/>
                <a:gd name="T34" fmla="*/ 4 w 16"/>
                <a:gd name="T35" fmla="*/ 2 h 21"/>
                <a:gd name="T36" fmla="*/ 4 w 16"/>
                <a:gd name="T37" fmla="*/ 2 h 21"/>
                <a:gd name="T38" fmla="*/ 5 w 16"/>
                <a:gd name="T39" fmla="*/ 1 h 21"/>
                <a:gd name="T40" fmla="*/ 5 w 16"/>
                <a:gd name="T41" fmla="*/ 1 h 21"/>
                <a:gd name="T42" fmla="*/ 7 w 16"/>
                <a:gd name="T43" fmla="*/ 1 h 21"/>
                <a:gd name="T44" fmla="*/ 7 w 16"/>
                <a:gd name="T45" fmla="*/ 1 h 21"/>
                <a:gd name="T46" fmla="*/ 9 w 16"/>
                <a:gd name="T47" fmla="*/ 0 h 21"/>
                <a:gd name="T48" fmla="*/ 11 w 16"/>
                <a:gd name="T49" fmla="*/ 0 h 21"/>
                <a:gd name="T50" fmla="*/ 13 w 16"/>
                <a:gd name="T51" fmla="*/ 0 h 21"/>
                <a:gd name="T52" fmla="*/ 16 w 16"/>
                <a:gd name="T53" fmla="*/ 0 h 21"/>
                <a:gd name="T54" fmla="*/ 16 w 16"/>
                <a:gd name="T55" fmla="*/ 0 h 21"/>
                <a:gd name="T56" fmla="*/ 16 w 16"/>
                <a:gd name="T57" fmla="*/ 0 h 21"/>
                <a:gd name="T58" fmla="*/ 16 w 16"/>
                <a:gd name="T59" fmla="*/ 0 h 21"/>
                <a:gd name="T60" fmla="*/ 16 w 16"/>
                <a:gd name="T61" fmla="*/ 0 h 21"/>
                <a:gd name="T62" fmla="*/ 16 w 16"/>
                <a:gd name="T63" fmla="*/ 0 h 21"/>
                <a:gd name="T64" fmla="*/ 16 w 16"/>
                <a:gd name="T65" fmla="*/ 1 h 21"/>
                <a:gd name="T66" fmla="*/ 16 w 16"/>
                <a:gd name="T67" fmla="*/ 1 h 21"/>
                <a:gd name="T68" fmla="*/ 16 w 16"/>
                <a:gd name="T69" fmla="*/ 1 h 21"/>
                <a:gd name="T70" fmla="*/ 16 w 16"/>
                <a:gd name="T71" fmla="*/ 1 h 21"/>
                <a:gd name="T72" fmla="*/ 16 w 16"/>
                <a:gd name="T73" fmla="*/ 1 h 21"/>
                <a:gd name="T74" fmla="*/ 13 w 16"/>
                <a:gd name="T75" fmla="*/ 1 h 21"/>
                <a:gd name="T76" fmla="*/ 11 w 16"/>
                <a:gd name="T77" fmla="*/ 1 h 21"/>
                <a:gd name="T78" fmla="*/ 9 w 16"/>
                <a:gd name="T79" fmla="*/ 1 h 21"/>
                <a:gd name="T80" fmla="*/ 7 w 16"/>
                <a:gd name="T81" fmla="*/ 1 h 21"/>
                <a:gd name="T82" fmla="*/ 7 w 16"/>
                <a:gd name="T83" fmla="*/ 1 h 21"/>
                <a:gd name="T84" fmla="*/ 5 w 16"/>
                <a:gd name="T85" fmla="*/ 2 h 21"/>
                <a:gd name="T86" fmla="*/ 5 w 16"/>
                <a:gd name="T87" fmla="*/ 2 h 21"/>
                <a:gd name="T88" fmla="*/ 4 w 16"/>
                <a:gd name="T89" fmla="*/ 3 h 21"/>
                <a:gd name="T90" fmla="*/ 4 w 16"/>
                <a:gd name="T91" fmla="*/ 3 h 21"/>
                <a:gd name="T92" fmla="*/ 4 w 16"/>
                <a:gd name="T93" fmla="*/ 4 h 21"/>
                <a:gd name="T94" fmla="*/ 3 w 16"/>
                <a:gd name="T95" fmla="*/ 5 h 21"/>
                <a:gd name="T96" fmla="*/ 3 w 16"/>
                <a:gd name="T97" fmla="*/ 5 h 21"/>
                <a:gd name="T98" fmla="*/ 3 w 16"/>
                <a:gd name="T99" fmla="*/ 6 h 21"/>
                <a:gd name="T100" fmla="*/ 2 w 16"/>
                <a:gd name="T101" fmla="*/ 10 h 21"/>
                <a:gd name="T102" fmla="*/ 2 w 16"/>
                <a:gd name="T103" fmla="*/ 10 h 21"/>
                <a:gd name="T104" fmla="*/ 1 w 16"/>
                <a:gd name="T105" fmla="*/ 14 h 21"/>
                <a:gd name="T106" fmla="*/ 0 w 16"/>
                <a:gd name="T10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1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4"/>
                  </a:lnTo>
                  <a:lnTo>
                    <a:pt x="0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275">
              <a:extLst>
                <a:ext uri="{FF2B5EF4-FFF2-40B4-BE49-F238E27FC236}">
                  <a16:creationId xmlns:a16="http://schemas.microsoft.com/office/drawing/2014/main" id="{B4580C9B-582B-47A5-8391-A55656FA4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1634"/>
              <a:ext cx="203" cy="248"/>
            </a:xfrm>
            <a:custGeom>
              <a:avLst/>
              <a:gdLst>
                <a:gd name="T0" fmla="*/ 0 w 16"/>
                <a:gd name="T1" fmla="*/ 21 h 21"/>
                <a:gd name="T2" fmla="*/ 0 w 16"/>
                <a:gd name="T3" fmla="*/ 21 h 21"/>
                <a:gd name="T4" fmla="*/ 0 w 16"/>
                <a:gd name="T5" fmla="*/ 21 h 21"/>
                <a:gd name="T6" fmla="*/ 0 w 16"/>
                <a:gd name="T7" fmla="*/ 21 h 21"/>
                <a:gd name="T8" fmla="*/ 0 w 16"/>
                <a:gd name="T9" fmla="*/ 21 h 21"/>
                <a:gd name="T10" fmla="*/ 0 w 16"/>
                <a:gd name="T11" fmla="*/ 21 h 21"/>
                <a:gd name="T12" fmla="*/ 0 w 16"/>
                <a:gd name="T13" fmla="*/ 21 h 21"/>
                <a:gd name="T14" fmla="*/ 0 w 16"/>
                <a:gd name="T15" fmla="*/ 21 h 21"/>
                <a:gd name="T16" fmla="*/ 0 w 16"/>
                <a:gd name="T17" fmla="*/ 21 h 21"/>
                <a:gd name="T18" fmla="*/ 0 w 16"/>
                <a:gd name="T19" fmla="*/ 21 h 21"/>
                <a:gd name="T20" fmla="*/ 0 w 16"/>
                <a:gd name="T21" fmla="*/ 21 h 21"/>
                <a:gd name="T22" fmla="*/ 1 w 16"/>
                <a:gd name="T23" fmla="*/ 13 h 21"/>
                <a:gd name="T24" fmla="*/ 2 w 16"/>
                <a:gd name="T25" fmla="*/ 8 h 21"/>
                <a:gd name="T26" fmla="*/ 3 w 16"/>
                <a:gd name="T27" fmla="*/ 5 h 21"/>
                <a:gd name="T28" fmla="*/ 3 w 16"/>
                <a:gd name="T29" fmla="*/ 5 h 21"/>
                <a:gd name="T30" fmla="*/ 3 w 16"/>
                <a:gd name="T31" fmla="*/ 4 h 21"/>
                <a:gd name="T32" fmla="*/ 4 w 16"/>
                <a:gd name="T33" fmla="*/ 3 h 21"/>
                <a:gd name="T34" fmla="*/ 4 w 16"/>
                <a:gd name="T35" fmla="*/ 3 h 21"/>
                <a:gd name="T36" fmla="*/ 4 w 16"/>
                <a:gd name="T37" fmla="*/ 2 h 21"/>
                <a:gd name="T38" fmla="*/ 4 w 16"/>
                <a:gd name="T39" fmla="*/ 2 h 21"/>
                <a:gd name="T40" fmla="*/ 5 w 16"/>
                <a:gd name="T41" fmla="*/ 2 h 21"/>
                <a:gd name="T42" fmla="*/ 6 w 16"/>
                <a:gd name="T43" fmla="*/ 1 h 21"/>
                <a:gd name="T44" fmla="*/ 6 w 16"/>
                <a:gd name="T45" fmla="*/ 1 h 21"/>
                <a:gd name="T46" fmla="*/ 7 w 16"/>
                <a:gd name="T47" fmla="*/ 1 h 21"/>
                <a:gd name="T48" fmla="*/ 9 w 16"/>
                <a:gd name="T49" fmla="*/ 1 h 21"/>
                <a:gd name="T50" fmla="*/ 11 w 16"/>
                <a:gd name="T51" fmla="*/ 0 h 21"/>
                <a:gd name="T52" fmla="*/ 13 w 16"/>
                <a:gd name="T53" fmla="*/ 0 h 21"/>
                <a:gd name="T54" fmla="*/ 16 w 16"/>
                <a:gd name="T55" fmla="*/ 0 h 21"/>
                <a:gd name="T56" fmla="*/ 16 w 16"/>
                <a:gd name="T57" fmla="*/ 0 h 21"/>
                <a:gd name="T58" fmla="*/ 16 w 16"/>
                <a:gd name="T59" fmla="*/ 0 h 21"/>
                <a:gd name="T60" fmla="*/ 16 w 16"/>
                <a:gd name="T61" fmla="*/ 0 h 21"/>
                <a:gd name="T62" fmla="*/ 16 w 16"/>
                <a:gd name="T63" fmla="*/ 1 h 21"/>
                <a:gd name="T64" fmla="*/ 16 w 16"/>
                <a:gd name="T65" fmla="*/ 1 h 21"/>
                <a:gd name="T66" fmla="*/ 16 w 16"/>
                <a:gd name="T67" fmla="*/ 1 h 21"/>
                <a:gd name="T68" fmla="*/ 16 w 16"/>
                <a:gd name="T69" fmla="*/ 1 h 21"/>
                <a:gd name="T70" fmla="*/ 16 w 16"/>
                <a:gd name="T71" fmla="*/ 1 h 21"/>
                <a:gd name="T72" fmla="*/ 16 w 16"/>
                <a:gd name="T73" fmla="*/ 1 h 21"/>
                <a:gd name="T74" fmla="*/ 16 w 16"/>
                <a:gd name="T75" fmla="*/ 1 h 21"/>
                <a:gd name="T76" fmla="*/ 13 w 16"/>
                <a:gd name="T77" fmla="*/ 1 h 21"/>
                <a:gd name="T78" fmla="*/ 11 w 16"/>
                <a:gd name="T79" fmla="*/ 1 h 21"/>
                <a:gd name="T80" fmla="*/ 9 w 16"/>
                <a:gd name="T81" fmla="*/ 1 h 21"/>
                <a:gd name="T82" fmla="*/ 7 w 16"/>
                <a:gd name="T83" fmla="*/ 2 h 21"/>
                <a:gd name="T84" fmla="*/ 7 w 16"/>
                <a:gd name="T85" fmla="*/ 1 h 21"/>
                <a:gd name="T86" fmla="*/ 6 w 16"/>
                <a:gd name="T87" fmla="*/ 2 h 21"/>
                <a:gd name="T88" fmla="*/ 6 w 16"/>
                <a:gd name="T89" fmla="*/ 2 h 21"/>
                <a:gd name="T90" fmla="*/ 5 w 16"/>
                <a:gd name="T91" fmla="*/ 2 h 21"/>
                <a:gd name="T92" fmla="*/ 5 w 16"/>
                <a:gd name="T93" fmla="*/ 2 h 21"/>
                <a:gd name="T94" fmla="*/ 5 w 16"/>
                <a:gd name="T95" fmla="*/ 3 h 21"/>
                <a:gd name="T96" fmla="*/ 5 w 16"/>
                <a:gd name="T97" fmla="*/ 3 h 21"/>
                <a:gd name="T98" fmla="*/ 4 w 16"/>
                <a:gd name="T99" fmla="*/ 3 h 21"/>
                <a:gd name="T100" fmla="*/ 4 w 16"/>
                <a:gd name="T101" fmla="*/ 3 h 21"/>
                <a:gd name="T102" fmla="*/ 4 w 16"/>
                <a:gd name="T103" fmla="*/ 4 h 21"/>
                <a:gd name="T104" fmla="*/ 3 w 16"/>
                <a:gd name="T105" fmla="*/ 6 h 21"/>
                <a:gd name="T106" fmla="*/ 3 w 16"/>
                <a:gd name="T107" fmla="*/ 8 h 21"/>
                <a:gd name="T108" fmla="*/ 3 w 16"/>
                <a:gd name="T109" fmla="*/ 8 h 21"/>
                <a:gd name="T110" fmla="*/ 2 w 16"/>
                <a:gd name="T111" fmla="*/ 13 h 21"/>
                <a:gd name="T112" fmla="*/ 2 w 16"/>
                <a:gd name="T113" fmla="*/ 13 h 21"/>
                <a:gd name="T114" fmla="*/ 0 w 16"/>
                <a:gd name="T1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13"/>
                  </a:lnTo>
                  <a:lnTo>
                    <a:pt x="2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9" y="1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2"/>
                  </a:lnTo>
                  <a:lnTo>
                    <a:pt x="7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276">
              <a:extLst>
                <a:ext uri="{FF2B5EF4-FFF2-40B4-BE49-F238E27FC236}">
                  <a16:creationId xmlns:a16="http://schemas.microsoft.com/office/drawing/2014/main" id="{A7640500-E3B9-4735-8B7F-289338BE8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0" y="1657"/>
              <a:ext cx="153" cy="12"/>
            </a:xfrm>
            <a:custGeom>
              <a:avLst/>
              <a:gdLst>
                <a:gd name="T0" fmla="*/ 1 w 12"/>
                <a:gd name="T1" fmla="*/ 1 h 1"/>
                <a:gd name="T2" fmla="*/ 0 w 12"/>
                <a:gd name="T3" fmla="*/ 1 h 1"/>
                <a:gd name="T4" fmla="*/ 0 w 12"/>
                <a:gd name="T5" fmla="*/ 0 h 1"/>
                <a:gd name="T6" fmla="*/ 1 w 12"/>
                <a:gd name="T7" fmla="*/ 0 h 1"/>
                <a:gd name="T8" fmla="*/ 1 w 12"/>
                <a:gd name="T9" fmla="*/ 0 h 1"/>
                <a:gd name="T10" fmla="*/ 1 w 12"/>
                <a:gd name="T11" fmla="*/ 0 h 1"/>
                <a:gd name="T12" fmla="*/ 1 w 12"/>
                <a:gd name="T13" fmla="*/ 0 h 1"/>
                <a:gd name="T14" fmla="*/ 1 w 12"/>
                <a:gd name="T15" fmla="*/ 0 h 1"/>
                <a:gd name="T16" fmla="*/ 1 w 12"/>
                <a:gd name="T17" fmla="*/ 0 h 1"/>
                <a:gd name="T18" fmla="*/ 3 w 12"/>
                <a:gd name="T19" fmla="*/ 0 h 1"/>
                <a:gd name="T20" fmla="*/ 6 w 12"/>
                <a:gd name="T21" fmla="*/ 0 h 1"/>
                <a:gd name="T22" fmla="*/ 8 w 12"/>
                <a:gd name="T23" fmla="*/ 0 h 1"/>
                <a:gd name="T24" fmla="*/ 12 w 12"/>
                <a:gd name="T25" fmla="*/ 0 h 1"/>
                <a:gd name="T26" fmla="*/ 12 w 12"/>
                <a:gd name="T27" fmla="*/ 0 h 1"/>
                <a:gd name="T28" fmla="*/ 12 w 12"/>
                <a:gd name="T29" fmla="*/ 0 h 1"/>
                <a:gd name="T30" fmla="*/ 12 w 12"/>
                <a:gd name="T31" fmla="*/ 0 h 1"/>
                <a:gd name="T32" fmla="*/ 12 w 12"/>
                <a:gd name="T33" fmla="*/ 0 h 1"/>
                <a:gd name="T34" fmla="*/ 12 w 12"/>
                <a:gd name="T35" fmla="*/ 0 h 1"/>
                <a:gd name="T36" fmla="*/ 12 w 12"/>
                <a:gd name="T37" fmla="*/ 0 h 1"/>
                <a:gd name="T38" fmla="*/ 12 w 12"/>
                <a:gd name="T39" fmla="*/ 0 h 1"/>
                <a:gd name="T40" fmla="*/ 12 w 12"/>
                <a:gd name="T41" fmla="*/ 0 h 1"/>
                <a:gd name="T42" fmla="*/ 12 w 12"/>
                <a:gd name="T43" fmla="*/ 0 h 1"/>
                <a:gd name="T44" fmla="*/ 12 w 12"/>
                <a:gd name="T45" fmla="*/ 0 h 1"/>
                <a:gd name="T46" fmla="*/ 8 w 12"/>
                <a:gd name="T47" fmla="*/ 0 h 1"/>
                <a:gd name="T48" fmla="*/ 6 w 12"/>
                <a:gd name="T49" fmla="*/ 0 h 1"/>
                <a:gd name="T50" fmla="*/ 4 w 12"/>
                <a:gd name="T51" fmla="*/ 1 h 1"/>
                <a:gd name="T52" fmla="*/ 2 w 12"/>
                <a:gd name="T53" fmla="*/ 1 h 1"/>
                <a:gd name="T54" fmla="*/ 1 w 12"/>
                <a:gd name="T55" fmla="*/ 1 h 1"/>
                <a:gd name="T56" fmla="*/ 1 w 12"/>
                <a:gd name="T57" fmla="*/ 1 h 1"/>
                <a:gd name="T58" fmla="*/ 1 w 12"/>
                <a:gd name="T59" fmla="*/ 1 h 1"/>
                <a:gd name="T60" fmla="*/ 1 w 12"/>
                <a:gd name="T61" fmla="*/ 1 h 1"/>
                <a:gd name="T62" fmla="*/ 1 w 12"/>
                <a:gd name="T6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" h="1">
                  <a:moveTo>
                    <a:pt x="1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277">
              <a:extLst>
                <a:ext uri="{FF2B5EF4-FFF2-40B4-BE49-F238E27FC236}">
                  <a16:creationId xmlns:a16="http://schemas.microsoft.com/office/drawing/2014/main" id="{B8C1B77C-97C5-47DA-9BE4-9A81661BB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" y="1634"/>
              <a:ext cx="140" cy="35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0 w 11"/>
                <a:gd name="T5" fmla="*/ 3 h 3"/>
                <a:gd name="T6" fmla="*/ 0 w 11"/>
                <a:gd name="T7" fmla="*/ 3 h 3"/>
                <a:gd name="T8" fmla="*/ 0 w 11"/>
                <a:gd name="T9" fmla="*/ 3 h 3"/>
                <a:gd name="T10" fmla="*/ 0 w 11"/>
                <a:gd name="T11" fmla="*/ 3 h 3"/>
                <a:gd name="T12" fmla="*/ 0 w 11"/>
                <a:gd name="T13" fmla="*/ 3 h 3"/>
                <a:gd name="T14" fmla="*/ 0 w 11"/>
                <a:gd name="T15" fmla="*/ 3 h 3"/>
                <a:gd name="T16" fmla="*/ 0 w 11"/>
                <a:gd name="T17" fmla="*/ 2 h 3"/>
                <a:gd name="T18" fmla="*/ 0 w 11"/>
                <a:gd name="T19" fmla="*/ 2 h 3"/>
                <a:gd name="T20" fmla="*/ 0 w 11"/>
                <a:gd name="T21" fmla="*/ 2 h 3"/>
                <a:gd name="T22" fmla="*/ 1 w 11"/>
                <a:gd name="T23" fmla="*/ 2 h 3"/>
                <a:gd name="T24" fmla="*/ 1 w 11"/>
                <a:gd name="T25" fmla="*/ 1 h 3"/>
                <a:gd name="T26" fmla="*/ 2 w 11"/>
                <a:gd name="T27" fmla="*/ 1 h 3"/>
                <a:gd name="T28" fmla="*/ 3 w 11"/>
                <a:gd name="T29" fmla="*/ 1 h 3"/>
                <a:gd name="T30" fmla="*/ 5 w 11"/>
                <a:gd name="T31" fmla="*/ 1 h 3"/>
                <a:gd name="T32" fmla="*/ 6 w 11"/>
                <a:gd name="T33" fmla="*/ 1 h 3"/>
                <a:gd name="T34" fmla="*/ 8 w 11"/>
                <a:gd name="T35" fmla="*/ 0 h 3"/>
                <a:gd name="T36" fmla="*/ 11 w 11"/>
                <a:gd name="T37" fmla="*/ 0 h 3"/>
                <a:gd name="T38" fmla="*/ 11 w 11"/>
                <a:gd name="T39" fmla="*/ 1 h 3"/>
                <a:gd name="T40" fmla="*/ 11 w 11"/>
                <a:gd name="T41" fmla="*/ 1 h 3"/>
                <a:gd name="T42" fmla="*/ 11 w 11"/>
                <a:gd name="T43" fmla="*/ 1 h 3"/>
                <a:gd name="T44" fmla="*/ 11 w 11"/>
                <a:gd name="T45" fmla="*/ 1 h 3"/>
                <a:gd name="T46" fmla="*/ 11 w 11"/>
                <a:gd name="T47" fmla="*/ 1 h 3"/>
                <a:gd name="T48" fmla="*/ 11 w 11"/>
                <a:gd name="T49" fmla="*/ 1 h 3"/>
                <a:gd name="T50" fmla="*/ 11 w 11"/>
                <a:gd name="T51" fmla="*/ 1 h 3"/>
                <a:gd name="T52" fmla="*/ 11 w 11"/>
                <a:gd name="T53" fmla="*/ 1 h 3"/>
                <a:gd name="T54" fmla="*/ 11 w 11"/>
                <a:gd name="T55" fmla="*/ 1 h 3"/>
                <a:gd name="T56" fmla="*/ 11 w 11"/>
                <a:gd name="T57" fmla="*/ 1 h 3"/>
                <a:gd name="T58" fmla="*/ 8 w 11"/>
                <a:gd name="T59" fmla="*/ 1 h 3"/>
                <a:gd name="T60" fmla="*/ 6 w 11"/>
                <a:gd name="T61" fmla="*/ 1 h 3"/>
                <a:gd name="T62" fmla="*/ 5 w 11"/>
                <a:gd name="T63" fmla="*/ 1 h 3"/>
                <a:gd name="T64" fmla="*/ 3 w 11"/>
                <a:gd name="T65" fmla="*/ 2 h 3"/>
                <a:gd name="T66" fmla="*/ 2 w 11"/>
                <a:gd name="T67" fmla="*/ 2 h 3"/>
                <a:gd name="T68" fmla="*/ 2 w 11"/>
                <a:gd name="T69" fmla="*/ 2 h 3"/>
                <a:gd name="T70" fmla="*/ 1 w 11"/>
                <a:gd name="T71" fmla="*/ 2 h 3"/>
                <a:gd name="T72" fmla="*/ 1 w 11"/>
                <a:gd name="T73" fmla="*/ 2 h 3"/>
                <a:gd name="T74" fmla="*/ 0 w 11"/>
                <a:gd name="T7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278">
              <a:extLst>
                <a:ext uri="{FF2B5EF4-FFF2-40B4-BE49-F238E27FC236}">
                  <a16:creationId xmlns:a16="http://schemas.microsoft.com/office/drawing/2014/main" id="{790E0A6F-5F78-4588-BE42-BCBE1267F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" y="1646"/>
              <a:ext cx="102" cy="23"/>
            </a:xfrm>
            <a:custGeom>
              <a:avLst/>
              <a:gdLst>
                <a:gd name="T0" fmla="*/ 0 w 8"/>
                <a:gd name="T1" fmla="*/ 2 h 2"/>
                <a:gd name="T2" fmla="*/ 0 w 8"/>
                <a:gd name="T3" fmla="*/ 2 h 2"/>
                <a:gd name="T4" fmla="*/ 0 w 8"/>
                <a:gd name="T5" fmla="*/ 1 h 2"/>
                <a:gd name="T6" fmla="*/ 0 w 8"/>
                <a:gd name="T7" fmla="*/ 1 h 2"/>
                <a:gd name="T8" fmla="*/ 0 w 8"/>
                <a:gd name="T9" fmla="*/ 1 h 2"/>
                <a:gd name="T10" fmla="*/ 0 w 8"/>
                <a:gd name="T11" fmla="*/ 1 h 2"/>
                <a:gd name="T12" fmla="*/ 0 w 8"/>
                <a:gd name="T13" fmla="*/ 1 h 2"/>
                <a:gd name="T14" fmla="*/ 0 w 8"/>
                <a:gd name="T15" fmla="*/ 1 h 2"/>
                <a:gd name="T16" fmla="*/ 2 w 8"/>
                <a:gd name="T17" fmla="*/ 1 h 2"/>
                <a:gd name="T18" fmla="*/ 5 w 8"/>
                <a:gd name="T19" fmla="*/ 0 h 2"/>
                <a:gd name="T20" fmla="*/ 7 w 8"/>
                <a:gd name="T21" fmla="*/ 0 h 2"/>
                <a:gd name="T22" fmla="*/ 8 w 8"/>
                <a:gd name="T23" fmla="*/ 0 h 2"/>
                <a:gd name="T24" fmla="*/ 8 w 8"/>
                <a:gd name="T25" fmla="*/ 0 h 2"/>
                <a:gd name="T26" fmla="*/ 8 w 8"/>
                <a:gd name="T27" fmla="*/ 0 h 2"/>
                <a:gd name="T28" fmla="*/ 8 w 8"/>
                <a:gd name="T29" fmla="*/ 1 h 2"/>
                <a:gd name="T30" fmla="*/ 8 w 8"/>
                <a:gd name="T31" fmla="*/ 1 h 2"/>
                <a:gd name="T32" fmla="*/ 8 w 8"/>
                <a:gd name="T33" fmla="*/ 1 h 2"/>
                <a:gd name="T34" fmla="*/ 8 w 8"/>
                <a:gd name="T35" fmla="*/ 1 h 2"/>
                <a:gd name="T36" fmla="*/ 8 w 8"/>
                <a:gd name="T37" fmla="*/ 1 h 2"/>
                <a:gd name="T38" fmla="*/ 8 w 8"/>
                <a:gd name="T39" fmla="*/ 1 h 2"/>
                <a:gd name="T40" fmla="*/ 8 w 8"/>
                <a:gd name="T41" fmla="*/ 1 h 2"/>
                <a:gd name="T42" fmla="*/ 8 w 8"/>
                <a:gd name="T43" fmla="*/ 1 h 2"/>
                <a:gd name="T44" fmla="*/ 7 w 8"/>
                <a:gd name="T45" fmla="*/ 1 h 2"/>
                <a:gd name="T46" fmla="*/ 5 w 8"/>
                <a:gd name="T47" fmla="*/ 1 h 2"/>
                <a:gd name="T48" fmla="*/ 2 w 8"/>
                <a:gd name="T49" fmla="*/ 1 h 2"/>
                <a:gd name="T50" fmla="*/ 0 w 8"/>
                <a:gd name="T5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1"/>
                  </a:lnTo>
                  <a:lnTo>
                    <a:pt x="2" y="1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279">
              <a:extLst>
                <a:ext uri="{FF2B5EF4-FFF2-40B4-BE49-F238E27FC236}">
                  <a16:creationId xmlns:a16="http://schemas.microsoft.com/office/drawing/2014/main" id="{437A401A-B9B7-4E33-8DD2-C32F4FEEA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5" y="1646"/>
              <a:ext cx="90" cy="11"/>
            </a:xfrm>
            <a:custGeom>
              <a:avLst/>
              <a:gdLst>
                <a:gd name="T0" fmla="*/ 0 w 7"/>
                <a:gd name="T1" fmla="*/ 1 h 1"/>
                <a:gd name="T2" fmla="*/ 0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0 w 7"/>
                <a:gd name="T9" fmla="*/ 1 h 1"/>
                <a:gd name="T10" fmla="*/ 0 w 7"/>
                <a:gd name="T11" fmla="*/ 1 h 1"/>
                <a:gd name="T12" fmla="*/ 0 w 7"/>
                <a:gd name="T13" fmla="*/ 1 h 1"/>
                <a:gd name="T14" fmla="*/ 0 w 7"/>
                <a:gd name="T15" fmla="*/ 1 h 1"/>
                <a:gd name="T16" fmla="*/ 0 w 7"/>
                <a:gd name="T17" fmla="*/ 1 h 1"/>
                <a:gd name="T18" fmla="*/ 0 w 7"/>
                <a:gd name="T19" fmla="*/ 1 h 1"/>
                <a:gd name="T20" fmla="*/ 2 w 7"/>
                <a:gd name="T21" fmla="*/ 0 h 1"/>
                <a:gd name="T22" fmla="*/ 4 w 7"/>
                <a:gd name="T23" fmla="*/ 0 h 1"/>
                <a:gd name="T24" fmla="*/ 6 w 7"/>
                <a:gd name="T25" fmla="*/ 0 h 1"/>
                <a:gd name="T26" fmla="*/ 7 w 7"/>
                <a:gd name="T27" fmla="*/ 0 h 1"/>
                <a:gd name="T28" fmla="*/ 7 w 7"/>
                <a:gd name="T29" fmla="*/ 0 h 1"/>
                <a:gd name="T30" fmla="*/ 7 w 7"/>
                <a:gd name="T31" fmla="*/ 0 h 1"/>
                <a:gd name="T32" fmla="*/ 7 w 7"/>
                <a:gd name="T33" fmla="*/ 0 h 1"/>
                <a:gd name="T34" fmla="*/ 7 w 7"/>
                <a:gd name="T35" fmla="*/ 0 h 1"/>
                <a:gd name="T36" fmla="*/ 7 w 7"/>
                <a:gd name="T37" fmla="*/ 0 h 1"/>
                <a:gd name="T38" fmla="*/ 7 w 7"/>
                <a:gd name="T39" fmla="*/ 1 h 1"/>
                <a:gd name="T40" fmla="*/ 7 w 7"/>
                <a:gd name="T41" fmla="*/ 1 h 1"/>
                <a:gd name="T42" fmla="*/ 7 w 7"/>
                <a:gd name="T43" fmla="*/ 1 h 1"/>
                <a:gd name="T44" fmla="*/ 7 w 7"/>
                <a:gd name="T45" fmla="*/ 1 h 1"/>
                <a:gd name="T46" fmla="*/ 7 w 7"/>
                <a:gd name="T47" fmla="*/ 1 h 1"/>
                <a:gd name="T48" fmla="*/ 6 w 7"/>
                <a:gd name="T49" fmla="*/ 1 h 1"/>
                <a:gd name="T50" fmla="*/ 4 w 7"/>
                <a:gd name="T51" fmla="*/ 1 h 1"/>
                <a:gd name="T52" fmla="*/ 2 w 7"/>
                <a:gd name="T53" fmla="*/ 1 h 1"/>
                <a:gd name="T54" fmla="*/ 0 w 7"/>
                <a:gd name="T5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280">
              <a:extLst>
                <a:ext uri="{FF2B5EF4-FFF2-40B4-BE49-F238E27FC236}">
                  <a16:creationId xmlns:a16="http://schemas.microsoft.com/office/drawing/2014/main" id="{B18D8119-B58A-4FC5-B0BC-164B798F6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" y="1646"/>
              <a:ext cx="26" cy="11"/>
            </a:xfrm>
            <a:custGeom>
              <a:avLst/>
              <a:gdLst>
                <a:gd name="T0" fmla="*/ 2 w 2"/>
                <a:gd name="T1" fmla="*/ 0 h 1"/>
                <a:gd name="T2" fmla="*/ 2 w 2"/>
                <a:gd name="T3" fmla="*/ 0 h 1"/>
                <a:gd name="T4" fmla="*/ 2 w 2"/>
                <a:gd name="T5" fmla="*/ 0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0 h 1"/>
                <a:gd name="T12" fmla="*/ 2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1 w 2"/>
                <a:gd name="T25" fmla="*/ 0 h 1"/>
                <a:gd name="T26" fmla="*/ 1 w 2"/>
                <a:gd name="T27" fmla="*/ 0 h 1"/>
                <a:gd name="T28" fmla="*/ 1 w 2"/>
                <a:gd name="T29" fmla="*/ 0 h 1"/>
                <a:gd name="T30" fmla="*/ 1 w 2"/>
                <a:gd name="T31" fmla="*/ 0 h 1"/>
                <a:gd name="T32" fmla="*/ 1 w 2"/>
                <a:gd name="T33" fmla="*/ 1 h 1"/>
                <a:gd name="T34" fmla="*/ 1 w 2"/>
                <a:gd name="T35" fmla="*/ 0 h 1"/>
                <a:gd name="T36" fmla="*/ 1 w 2"/>
                <a:gd name="T37" fmla="*/ 1 h 1"/>
                <a:gd name="T38" fmla="*/ 1 w 2"/>
                <a:gd name="T39" fmla="*/ 1 h 1"/>
                <a:gd name="T40" fmla="*/ 1 w 2"/>
                <a:gd name="T41" fmla="*/ 1 h 1"/>
                <a:gd name="T42" fmla="*/ 1 w 2"/>
                <a:gd name="T43" fmla="*/ 1 h 1"/>
                <a:gd name="T44" fmla="*/ 1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0 w 2"/>
                <a:gd name="T61" fmla="*/ 1 h 1"/>
                <a:gd name="T62" fmla="*/ 0 w 2"/>
                <a:gd name="T63" fmla="*/ 1 h 1"/>
                <a:gd name="T64" fmla="*/ 0 w 2"/>
                <a:gd name="T65" fmla="*/ 0 h 1"/>
                <a:gd name="T66" fmla="*/ 0 w 2"/>
                <a:gd name="T67" fmla="*/ 0 h 1"/>
                <a:gd name="T68" fmla="*/ 1 w 2"/>
                <a:gd name="T69" fmla="*/ 0 h 1"/>
                <a:gd name="T70" fmla="*/ 1 w 2"/>
                <a:gd name="T71" fmla="*/ 0 h 1"/>
                <a:gd name="T72" fmla="*/ 1 w 2"/>
                <a:gd name="T73" fmla="*/ 0 h 1"/>
                <a:gd name="T74" fmla="*/ 2 w 2"/>
                <a:gd name="T7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281">
              <a:extLst>
                <a:ext uri="{FF2B5EF4-FFF2-40B4-BE49-F238E27FC236}">
                  <a16:creationId xmlns:a16="http://schemas.microsoft.com/office/drawing/2014/main" id="{436AA996-7863-46B8-9FF1-0C2CCA429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" y="1634"/>
              <a:ext cx="25" cy="23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1 h 2"/>
                <a:gd name="T4" fmla="*/ 0 w 2"/>
                <a:gd name="T5" fmla="*/ 1 h 2"/>
                <a:gd name="T6" fmla="*/ 0 w 2"/>
                <a:gd name="T7" fmla="*/ 1 h 2"/>
                <a:gd name="T8" fmla="*/ 0 w 2"/>
                <a:gd name="T9" fmla="*/ 0 h 2"/>
                <a:gd name="T10" fmla="*/ 0 w 2"/>
                <a:gd name="T11" fmla="*/ 0 h 2"/>
                <a:gd name="T12" fmla="*/ 1 w 2"/>
                <a:gd name="T13" fmla="*/ 1 h 2"/>
                <a:gd name="T14" fmla="*/ 1 w 2"/>
                <a:gd name="T15" fmla="*/ 1 h 2"/>
                <a:gd name="T16" fmla="*/ 1 w 2"/>
                <a:gd name="T17" fmla="*/ 1 h 2"/>
                <a:gd name="T18" fmla="*/ 1 w 2"/>
                <a:gd name="T19" fmla="*/ 1 h 2"/>
                <a:gd name="T20" fmla="*/ 1 w 2"/>
                <a:gd name="T21" fmla="*/ 1 h 2"/>
                <a:gd name="T22" fmla="*/ 2 w 2"/>
                <a:gd name="T23" fmla="*/ 1 h 2"/>
                <a:gd name="T24" fmla="*/ 2 w 2"/>
                <a:gd name="T25" fmla="*/ 2 h 2"/>
                <a:gd name="T26" fmla="*/ 1 w 2"/>
                <a:gd name="T27" fmla="*/ 2 h 2"/>
                <a:gd name="T28" fmla="*/ 1 w 2"/>
                <a:gd name="T29" fmla="*/ 2 h 2"/>
                <a:gd name="T30" fmla="*/ 1 w 2"/>
                <a:gd name="T31" fmla="*/ 2 h 2"/>
                <a:gd name="T32" fmla="*/ 1 w 2"/>
                <a:gd name="T33" fmla="*/ 2 h 2"/>
                <a:gd name="T34" fmla="*/ 1 w 2"/>
                <a:gd name="T35" fmla="*/ 2 h 2"/>
                <a:gd name="T36" fmla="*/ 1 w 2"/>
                <a:gd name="T37" fmla="*/ 2 h 2"/>
                <a:gd name="T38" fmla="*/ 1 w 2"/>
                <a:gd name="T39" fmla="*/ 2 h 2"/>
                <a:gd name="T40" fmla="*/ 1 w 2"/>
                <a:gd name="T41" fmla="*/ 2 h 2"/>
                <a:gd name="T42" fmla="*/ 1 w 2"/>
                <a:gd name="T43" fmla="*/ 2 h 2"/>
                <a:gd name="T44" fmla="*/ 1 w 2"/>
                <a:gd name="T45" fmla="*/ 2 h 2"/>
                <a:gd name="T46" fmla="*/ 0 w 2"/>
                <a:gd name="T47" fmla="*/ 2 h 2"/>
                <a:gd name="T48" fmla="*/ 0 w 2"/>
                <a:gd name="T49" fmla="*/ 2 h 2"/>
                <a:gd name="T50" fmla="*/ 1 w 2"/>
                <a:gd name="T51" fmla="*/ 1 h 2"/>
                <a:gd name="T52" fmla="*/ 1 w 2"/>
                <a:gd name="T53" fmla="*/ 1 h 2"/>
                <a:gd name="T54" fmla="*/ 1 w 2"/>
                <a:gd name="T55" fmla="*/ 2 h 2"/>
                <a:gd name="T56" fmla="*/ 1 w 2"/>
                <a:gd name="T57" fmla="*/ 1 h 2"/>
                <a:gd name="T58" fmla="*/ 1 w 2"/>
                <a:gd name="T59" fmla="*/ 1 h 2"/>
                <a:gd name="T60" fmla="*/ 1 w 2"/>
                <a:gd name="T61" fmla="*/ 1 h 2"/>
                <a:gd name="T62" fmla="*/ 1 w 2"/>
                <a:gd name="T63" fmla="*/ 1 h 2"/>
                <a:gd name="T64" fmla="*/ 0 w 2"/>
                <a:gd name="T6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282">
              <a:extLst>
                <a:ext uri="{FF2B5EF4-FFF2-40B4-BE49-F238E27FC236}">
                  <a16:creationId xmlns:a16="http://schemas.microsoft.com/office/drawing/2014/main" id="{1F1F0E5D-69E1-41BC-B26D-A81D55DC3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" y="1646"/>
              <a:ext cx="26" cy="11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0 h 1"/>
                <a:gd name="T12" fmla="*/ 0 w 2"/>
                <a:gd name="T13" fmla="*/ 0 h 1"/>
                <a:gd name="T14" fmla="*/ 1 w 2"/>
                <a:gd name="T15" fmla="*/ 0 h 1"/>
                <a:gd name="T16" fmla="*/ 1 w 2"/>
                <a:gd name="T17" fmla="*/ 1 h 1"/>
                <a:gd name="T18" fmla="*/ 1 w 2"/>
                <a:gd name="T19" fmla="*/ 1 h 1"/>
                <a:gd name="T20" fmla="*/ 1 w 2"/>
                <a:gd name="T21" fmla="*/ 0 h 1"/>
                <a:gd name="T22" fmla="*/ 1 w 2"/>
                <a:gd name="T23" fmla="*/ 0 h 1"/>
                <a:gd name="T24" fmla="*/ 1 w 2"/>
                <a:gd name="T25" fmla="*/ 0 h 1"/>
                <a:gd name="T26" fmla="*/ 2 w 2"/>
                <a:gd name="T27" fmla="*/ 0 h 1"/>
                <a:gd name="T28" fmla="*/ 2 w 2"/>
                <a:gd name="T29" fmla="*/ 0 h 1"/>
                <a:gd name="T30" fmla="*/ 2 w 2"/>
                <a:gd name="T31" fmla="*/ 0 h 1"/>
                <a:gd name="T32" fmla="*/ 2 w 2"/>
                <a:gd name="T33" fmla="*/ 0 h 1"/>
                <a:gd name="T34" fmla="*/ 2 w 2"/>
                <a:gd name="T35" fmla="*/ 0 h 1"/>
                <a:gd name="T36" fmla="*/ 2 w 2"/>
                <a:gd name="T37" fmla="*/ 0 h 1"/>
                <a:gd name="T38" fmla="*/ 2 w 2"/>
                <a:gd name="T39" fmla="*/ 0 h 1"/>
                <a:gd name="T40" fmla="*/ 2 w 2"/>
                <a:gd name="T41" fmla="*/ 0 h 1"/>
                <a:gd name="T42" fmla="*/ 2 w 2"/>
                <a:gd name="T43" fmla="*/ 1 h 1"/>
                <a:gd name="T44" fmla="*/ 2 w 2"/>
                <a:gd name="T45" fmla="*/ 1 h 1"/>
                <a:gd name="T46" fmla="*/ 2 w 2"/>
                <a:gd name="T47" fmla="*/ 1 h 1"/>
                <a:gd name="T48" fmla="*/ 1 w 2"/>
                <a:gd name="T49" fmla="*/ 1 h 1"/>
                <a:gd name="T50" fmla="*/ 1 w 2"/>
                <a:gd name="T51" fmla="*/ 0 h 1"/>
                <a:gd name="T52" fmla="*/ 1 w 2"/>
                <a:gd name="T53" fmla="*/ 0 h 1"/>
                <a:gd name="T54" fmla="*/ 1 w 2"/>
                <a:gd name="T55" fmla="*/ 0 h 1"/>
                <a:gd name="T56" fmla="*/ 1 w 2"/>
                <a:gd name="T57" fmla="*/ 0 h 1"/>
                <a:gd name="T58" fmla="*/ 1 w 2"/>
                <a:gd name="T59" fmla="*/ 0 h 1"/>
                <a:gd name="T60" fmla="*/ 2 w 2"/>
                <a:gd name="T61" fmla="*/ 1 h 1"/>
                <a:gd name="T62" fmla="*/ 1 w 2"/>
                <a:gd name="T63" fmla="*/ 1 h 1"/>
                <a:gd name="T64" fmla="*/ 1 w 2"/>
                <a:gd name="T65" fmla="*/ 1 h 1"/>
                <a:gd name="T66" fmla="*/ 1 w 2"/>
                <a:gd name="T67" fmla="*/ 1 h 1"/>
                <a:gd name="T68" fmla="*/ 1 w 2"/>
                <a:gd name="T69" fmla="*/ 1 h 1"/>
                <a:gd name="T70" fmla="*/ 1 w 2"/>
                <a:gd name="T71" fmla="*/ 1 h 1"/>
                <a:gd name="T72" fmla="*/ 1 w 2"/>
                <a:gd name="T73" fmla="*/ 1 h 1"/>
                <a:gd name="T74" fmla="*/ 0 w 2"/>
                <a:gd name="T7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283">
              <a:extLst>
                <a:ext uri="{FF2B5EF4-FFF2-40B4-BE49-F238E27FC236}">
                  <a16:creationId xmlns:a16="http://schemas.microsoft.com/office/drawing/2014/main" id="{DED3024B-C7B0-4770-9280-50CEB633C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3" y="1893"/>
              <a:ext cx="205" cy="95"/>
            </a:xfrm>
            <a:custGeom>
              <a:avLst/>
              <a:gdLst>
                <a:gd name="T0" fmla="*/ 16 w 16"/>
                <a:gd name="T1" fmla="*/ 8 h 8"/>
                <a:gd name="T2" fmla="*/ 16 w 16"/>
                <a:gd name="T3" fmla="*/ 8 h 8"/>
                <a:gd name="T4" fmla="*/ 16 w 16"/>
                <a:gd name="T5" fmla="*/ 8 h 8"/>
                <a:gd name="T6" fmla="*/ 16 w 16"/>
                <a:gd name="T7" fmla="*/ 8 h 8"/>
                <a:gd name="T8" fmla="*/ 16 w 16"/>
                <a:gd name="T9" fmla="*/ 8 h 8"/>
                <a:gd name="T10" fmla="*/ 16 w 16"/>
                <a:gd name="T11" fmla="*/ 8 h 8"/>
                <a:gd name="T12" fmla="*/ 16 w 16"/>
                <a:gd name="T13" fmla="*/ 8 h 8"/>
                <a:gd name="T14" fmla="*/ 15 w 16"/>
                <a:gd name="T15" fmla="*/ 8 h 8"/>
                <a:gd name="T16" fmla="*/ 15 w 16"/>
                <a:gd name="T17" fmla="*/ 8 h 8"/>
                <a:gd name="T18" fmla="*/ 15 w 16"/>
                <a:gd name="T19" fmla="*/ 8 h 8"/>
                <a:gd name="T20" fmla="*/ 15 w 16"/>
                <a:gd name="T21" fmla="*/ 8 h 8"/>
                <a:gd name="T22" fmla="*/ 15 w 16"/>
                <a:gd name="T23" fmla="*/ 7 h 8"/>
                <a:gd name="T24" fmla="*/ 15 w 16"/>
                <a:gd name="T25" fmla="*/ 7 h 8"/>
                <a:gd name="T26" fmla="*/ 15 w 16"/>
                <a:gd name="T27" fmla="*/ 6 h 8"/>
                <a:gd name="T28" fmla="*/ 15 w 16"/>
                <a:gd name="T29" fmla="*/ 6 h 8"/>
                <a:gd name="T30" fmla="*/ 15 w 16"/>
                <a:gd name="T31" fmla="*/ 5 h 8"/>
                <a:gd name="T32" fmla="*/ 15 w 16"/>
                <a:gd name="T33" fmla="*/ 5 h 8"/>
                <a:gd name="T34" fmla="*/ 14 w 16"/>
                <a:gd name="T35" fmla="*/ 4 h 8"/>
                <a:gd name="T36" fmla="*/ 14 w 16"/>
                <a:gd name="T37" fmla="*/ 4 h 8"/>
                <a:gd name="T38" fmla="*/ 12 w 16"/>
                <a:gd name="T39" fmla="*/ 3 h 8"/>
                <a:gd name="T40" fmla="*/ 12 w 16"/>
                <a:gd name="T41" fmla="*/ 3 h 8"/>
                <a:gd name="T42" fmla="*/ 10 w 16"/>
                <a:gd name="T43" fmla="*/ 2 h 8"/>
                <a:gd name="T44" fmla="*/ 11 w 16"/>
                <a:gd name="T45" fmla="*/ 2 h 8"/>
                <a:gd name="T46" fmla="*/ 8 w 16"/>
                <a:gd name="T47" fmla="*/ 2 h 8"/>
                <a:gd name="T48" fmla="*/ 5 w 16"/>
                <a:gd name="T49" fmla="*/ 1 h 8"/>
                <a:gd name="T50" fmla="*/ 2 w 16"/>
                <a:gd name="T51" fmla="*/ 1 h 8"/>
                <a:gd name="T52" fmla="*/ 0 w 16"/>
                <a:gd name="T53" fmla="*/ 1 h 8"/>
                <a:gd name="T54" fmla="*/ 0 w 16"/>
                <a:gd name="T55" fmla="*/ 1 h 8"/>
                <a:gd name="T56" fmla="*/ 0 w 16"/>
                <a:gd name="T57" fmla="*/ 1 h 8"/>
                <a:gd name="T58" fmla="*/ 0 w 16"/>
                <a:gd name="T59" fmla="*/ 1 h 8"/>
                <a:gd name="T60" fmla="*/ 0 w 16"/>
                <a:gd name="T61" fmla="*/ 0 h 8"/>
                <a:gd name="T62" fmla="*/ 0 w 16"/>
                <a:gd name="T63" fmla="*/ 0 h 8"/>
                <a:gd name="T64" fmla="*/ 0 w 16"/>
                <a:gd name="T65" fmla="*/ 0 h 8"/>
                <a:gd name="T66" fmla="*/ 0 w 16"/>
                <a:gd name="T67" fmla="*/ 0 h 8"/>
                <a:gd name="T68" fmla="*/ 0 w 16"/>
                <a:gd name="T69" fmla="*/ 0 h 8"/>
                <a:gd name="T70" fmla="*/ 2 w 16"/>
                <a:gd name="T71" fmla="*/ 0 h 8"/>
                <a:gd name="T72" fmla="*/ 5 w 16"/>
                <a:gd name="T73" fmla="*/ 0 h 8"/>
                <a:gd name="T74" fmla="*/ 8 w 16"/>
                <a:gd name="T75" fmla="*/ 1 h 8"/>
                <a:gd name="T76" fmla="*/ 8 w 16"/>
                <a:gd name="T77" fmla="*/ 1 h 8"/>
                <a:gd name="T78" fmla="*/ 11 w 16"/>
                <a:gd name="T79" fmla="*/ 2 h 8"/>
                <a:gd name="T80" fmla="*/ 13 w 16"/>
                <a:gd name="T81" fmla="*/ 2 h 8"/>
                <a:gd name="T82" fmla="*/ 13 w 16"/>
                <a:gd name="T83" fmla="*/ 2 h 8"/>
                <a:gd name="T84" fmla="*/ 14 w 16"/>
                <a:gd name="T85" fmla="*/ 3 h 8"/>
                <a:gd name="T86" fmla="*/ 14 w 16"/>
                <a:gd name="T87" fmla="*/ 3 h 8"/>
                <a:gd name="T88" fmla="*/ 15 w 16"/>
                <a:gd name="T89" fmla="*/ 5 h 8"/>
                <a:gd name="T90" fmla="*/ 15 w 16"/>
                <a:gd name="T91" fmla="*/ 5 h 8"/>
                <a:gd name="T92" fmla="*/ 16 w 16"/>
                <a:gd name="T93" fmla="*/ 6 h 8"/>
                <a:gd name="T94" fmla="*/ 16 w 16"/>
                <a:gd name="T95" fmla="*/ 6 h 8"/>
                <a:gd name="T96" fmla="*/ 16 w 16"/>
                <a:gd name="T97" fmla="*/ 7 h 8"/>
                <a:gd name="T98" fmla="*/ 16 w 16"/>
                <a:gd name="T99" fmla="*/ 7 h 8"/>
                <a:gd name="T100" fmla="*/ 16 w 16"/>
                <a:gd name="T10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" h="8"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8" y="2"/>
                  </a:lnTo>
                  <a:lnTo>
                    <a:pt x="5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284">
              <a:extLst>
                <a:ext uri="{FF2B5EF4-FFF2-40B4-BE49-F238E27FC236}">
                  <a16:creationId xmlns:a16="http://schemas.microsoft.com/office/drawing/2014/main" id="{B92DE862-FB07-49C0-9FE1-6E6F75629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1681"/>
              <a:ext cx="38" cy="283"/>
            </a:xfrm>
            <a:custGeom>
              <a:avLst/>
              <a:gdLst>
                <a:gd name="T0" fmla="*/ 2 w 3"/>
                <a:gd name="T1" fmla="*/ 24 h 24"/>
                <a:gd name="T2" fmla="*/ 2 w 3"/>
                <a:gd name="T3" fmla="*/ 24 h 24"/>
                <a:gd name="T4" fmla="*/ 2 w 3"/>
                <a:gd name="T5" fmla="*/ 24 h 24"/>
                <a:gd name="T6" fmla="*/ 1 w 3"/>
                <a:gd name="T7" fmla="*/ 24 h 24"/>
                <a:gd name="T8" fmla="*/ 1 w 3"/>
                <a:gd name="T9" fmla="*/ 24 h 24"/>
                <a:gd name="T10" fmla="*/ 1 w 3"/>
                <a:gd name="T11" fmla="*/ 24 h 24"/>
                <a:gd name="T12" fmla="*/ 1 w 3"/>
                <a:gd name="T13" fmla="*/ 24 h 24"/>
                <a:gd name="T14" fmla="*/ 1 w 3"/>
                <a:gd name="T15" fmla="*/ 24 h 24"/>
                <a:gd name="T16" fmla="*/ 1 w 3"/>
                <a:gd name="T17" fmla="*/ 24 h 24"/>
                <a:gd name="T18" fmla="*/ 1 w 3"/>
                <a:gd name="T19" fmla="*/ 23 h 24"/>
                <a:gd name="T20" fmla="*/ 1 w 3"/>
                <a:gd name="T21" fmla="*/ 23 h 24"/>
                <a:gd name="T22" fmla="*/ 1 w 3"/>
                <a:gd name="T23" fmla="*/ 23 h 24"/>
                <a:gd name="T24" fmla="*/ 2 w 3"/>
                <a:gd name="T25" fmla="*/ 22 h 24"/>
                <a:gd name="T26" fmla="*/ 2 w 3"/>
                <a:gd name="T27" fmla="*/ 20 h 24"/>
                <a:gd name="T28" fmla="*/ 2 w 3"/>
                <a:gd name="T29" fmla="*/ 20 h 24"/>
                <a:gd name="T30" fmla="*/ 2 w 3"/>
                <a:gd name="T31" fmla="*/ 13 h 24"/>
                <a:gd name="T32" fmla="*/ 1 w 3"/>
                <a:gd name="T33" fmla="*/ 9 h 24"/>
                <a:gd name="T34" fmla="*/ 1 w 3"/>
                <a:gd name="T35" fmla="*/ 5 h 24"/>
                <a:gd name="T36" fmla="*/ 0 w 3"/>
                <a:gd name="T37" fmla="*/ 2 h 24"/>
                <a:gd name="T38" fmla="*/ 0 w 3"/>
                <a:gd name="T39" fmla="*/ 1 h 24"/>
                <a:gd name="T40" fmla="*/ 1 w 3"/>
                <a:gd name="T41" fmla="*/ 0 h 24"/>
                <a:gd name="T42" fmla="*/ 1 w 3"/>
                <a:gd name="T43" fmla="*/ 0 h 24"/>
                <a:gd name="T44" fmla="*/ 1 w 3"/>
                <a:gd name="T45" fmla="*/ 0 h 24"/>
                <a:gd name="T46" fmla="*/ 1 w 3"/>
                <a:gd name="T47" fmla="*/ 0 h 24"/>
                <a:gd name="T48" fmla="*/ 1 w 3"/>
                <a:gd name="T49" fmla="*/ 0 h 24"/>
                <a:gd name="T50" fmla="*/ 2 w 3"/>
                <a:gd name="T51" fmla="*/ 0 h 24"/>
                <a:gd name="T52" fmla="*/ 2 w 3"/>
                <a:gd name="T53" fmla="*/ 0 h 24"/>
                <a:gd name="T54" fmla="*/ 2 w 3"/>
                <a:gd name="T55" fmla="*/ 0 h 24"/>
                <a:gd name="T56" fmla="*/ 2 w 3"/>
                <a:gd name="T57" fmla="*/ 0 h 24"/>
                <a:gd name="T58" fmla="*/ 2 w 3"/>
                <a:gd name="T59" fmla="*/ 0 h 24"/>
                <a:gd name="T60" fmla="*/ 2 w 3"/>
                <a:gd name="T61" fmla="*/ 0 h 24"/>
                <a:gd name="T62" fmla="*/ 2 w 3"/>
                <a:gd name="T63" fmla="*/ 0 h 24"/>
                <a:gd name="T64" fmla="*/ 1 w 3"/>
                <a:gd name="T65" fmla="*/ 1 h 24"/>
                <a:gd name="T66" fmla="*/ 1 w 3"/>
                <a:gd name="T67" fmla="*/ 1 h 24"/>
                <a:gd name="T68" fmla="*/ 1 w 3"/>
                <a:gd name="T69" fmla="*/ 1 h 24"/>
                <a:gd name="T70" fmla="*/ 1 w 3"/>
                <a:gd name="T71" fmla="*/ 1 h 24"/>
                <a:gd name="T72" fmla="*/ 1 w 3"/>
                <a:gd name="T73" fmla="*/ 2 h 24"/>
                <a:gd name="T74" fmla="*/ 1 w 3"/>
                <a:gd name="T75" fmla="*/ 2 h 24"/>
                <a:gd name="T76" fmla="*/ 2 w 3"/>
                <a:gd name="T77" fmla="*/ 5 h 24"/>
                <a:gd name="T78" fmla="*/ 2 w 3"/>
                <a:gd name="T79" fmla="*/ 9 h 24"/>
                <a:gd name="T80" fmla="*/ 2 w 3"/>
                <a:gd name="T81" fmla="*/ 13 h 24"/>
                <a:gd name="T82" fmla="*/ 3 w 3"/>
                <a:gd name="T83" fmla="*/ 20 h 24"/>
                <a:gd name="T84" fmla="*/ 3 w 3"/>
                <a:gd name="T85" fmla="*/ 20 h 24"/>
                <a:gd name="T86" fmla="*/ 2 w 3"/>
                <a:gd name="T87" fmla="*/ 22 h 24"/>
                <a:gd name="T88" fmla="*/ 2 w 3"/>
                <a:gd name="T89" fmla="*/ 22 h 24"/>
                <a:gd name="T90" fmla="*/ 2 w 3"/>
                <a:gd name="T91" fmla="*/ 23 h 24"/>
                <a:gd name="T92" fmla="*/ 2 w 3"/>
                <a:gd name="T93" fmla="*/ 23 h 24"/>
                <a:gd name="T94" fmla="*/ 2 w 3"/>
                <a:gd name="T9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" h="24">
                  <a:moveTo>
                    <a:pt x="2" y="24"/>
                  </a:moveTo>
                  <a:lnTo>
                    <a:pt x="2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3"/>
                  </a:lnTo>
                  <a:lnTo>
                    <a:pt x="1" y="9"/>
                  </a:lnTo>
                  <a:lnTo>
                    <a:pt x="1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5"/>
                  </a:lnTo>
                  <a:lnTo>
                    <a:pt x="2" y="9"/>
                  </a:lnTo>
                  <a:lnTo>
                    <a:pt x="2" y="13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4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285">
              <a:extLst>
                <a:ext uri="{FF2B5EF4-FFF2-40B4-BE49-F238E27FC236}">
                  <a16:creationId xmlns:a16="http://schemas.microsoft.com/office/drawing/2014/main" id="{2D2B6959-AFD3-4D21-960A-488D6DADF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22"/>
              <a:ext cx="269" cy="389"/>
            </a:xfrm>
            <a:custGeom>
              <a:avLst/>
              <a:gdLst>
                <a:gd name="T0" fmla="*/ 1 w 21"/>
                <a:gd name="T1" fmla="*/ 0 h 33"/>
                <a:gd name="T2" fmla="*/ 1 w 21"/>
                <a:gd name="T3" fmla="*/ 0 h 33"/>
                <a:gd name="T4" fmla="*/ 0 w 21"/>
                <a:gd name="T5" fmla="*/ 0 h 33"/>
                <a:gd name="T6" fmla="*/ 1 w 21"/>
                <a:gd name="T7" fmla="*/ 0 h 33"/>
                <a:gd name="T8" fmla="*/ 5 w 21"/>
                <a:gd name="T9" fmla="*/ 0 h 33"/>
                <a:gd name="T10" fmla="*/ 9 w 21"/>
                <a:gd name="T11" fmla="*/ 0 h 33"/>
                <a:gd name="T12" fmla="*/ 11 w 21"/>
                <a:gd name="T13" fmla="*/ 1 h 33"/>
                <a:gd name="T14" fmla="*/ 16 w 21"/>
                <a:gd name="T15" fmla="*/ 2 h 33"/>
                <a:gd name="T16" fmla="*/ 17 w 21"/>
                <a:gd name="T17" fmla="*/ 3 h 33"/>
                <a:gd name="T18" fmla="*/ 18 w 21"/>
                <a:gd name="T19" fmla="*/ 4 h 33"/>
                <a:gd name="T20" fmla="*/ 19 w 21"/>
                <a:gd name="T21" fmla="*/ 6 h 33"/>
                <a:gd name="T22" fmla="*/ 20 w 21"/>
                <a:gd name="T23" fmla="*/ 8 h 33"/>
                <a:gd name="T24" fmla="*/ 20 w 21"/>
                <a:gd name="T25" fmla="*/ 12 h 33"/>
                <a:gd name="T26" fmla="*/ 21 w 21"/>
                <a:gd name="T27" fmla="*/ 17 h 33"/>
                <a:gd name="T28" fmla="*/ 21 w 21"/>
                <a:gd name="T29" fmla="*/ 20 h 33"/>
                <a:gd name="T30" fmla="*/ 21 w 21"/>
                <a:gd name="T31" fmla="*/ 24 h 33"/>
                <a:gd name="T32" fmla="*/ 21 w 21"/>
                <a:gd name="T33" fmla="*/ 30 h 33"/>
                <a:gd name="T34" fmla="*/ 21 w 21"/>
                <a:gd name="T35" fmla="*/ 31 h 33"/>
                <a:gd name="T36" fmla="*/ 20 w 21"/>
                <a:gd name="T37" fmla="*/ 31 h 33"/>
                <a:gd name="T38" fmla="*/ 19 w 21"/>
                <a:gd name="T39" fmla="*/ 32 h 33"/>
                <a:gd name="T40" fmla="*/ 19 w 21"/>
                <a:gd name="T41" fmla="*/ 32 h 33"/>
                <a:gd name="T42" fmla="*/ 18 w 21"/>
                <a:gd name="T43" fmla="*/ 33 h 33"/>
                <a:gd name="T44" fmla="*/ 18 w 21"/>
                <a:gd name="T45" fmla="*/ 33 h 33"/>
                <a:gd name="T46" fmla="*/ 18 w 21"/>
                <a:gd name="T47" fmla="*/ 33 h 33"/>
                <a:gd name="T48" fmla="*/ 18 w 21"/>
                <a:gd name="T49" fmla="*/ 33 h 33"/>
                <a:gd name="T50" fmla="*/ 17 w 21"/>
                <a:gd name="T51" fmla="*/ 33 h 33"/>
                <a:gd name="T52" fmla="*/ 18 w 21"/>
                <a:gd name="T53" fmla="*/ 32 h 33"/>
                <a:gd name="T54" fmla="*/ 18 w 21"/>
                <a:gd name="T55" fmla="*/ 32 h 33"/>
                <a:gd name="T56" fmla="*/ 19 w 21"/>
                <a:gd name="T57" fmla="*/ 31 h 33"/>
                <a:gd name="T58" fmla="*/ 20 w 21"/>
                <a:gd name="T59" fmla="*/ 31 h 33"/>
                <a:gd name="T60" fmla="*/ 20 w 21"/>
                <a:gd name="T61" fmla="*/ 30 h 33"/>
                <a:gd name="T62" fmla="*/ 20 w 21"/>
                <a:gd name="T63" fmla="*/ 30 h 33"/>
                <a:gd name="T64" fmla="*/ 21 w 21"/>
                <a:gd name="T65" fmla="*/ 29 h 33"/>
                <a:gd name="T66" fmla="*/ 20 w 21"/>
                <a:gd name="T67" fmla="*/ 20 h 33"/>
                <a:gd name="T68" fmla="*/ 20 w 21"/>
                <a:gd name="T69" fmla="*/ 14 h 33"/>
                <a:gd name="T70" fmla="*/ 20 w 21"/>
                <a:gd name="T71" fmla="*/ 10 h 33"/>
                <a:gd name="T72" fmla="*/ 19 w 21"/>
                <a:gd name="T73" fmla="*/ 8 h 33"/>
                <a:gd name="T74" fmla="*/ 18 w 21"/>
                <a:gd name="T75" fmla="*/ 5 h 33"/>
                <a:gd name="T76" fmla="*/ 17 w 21"/>
                <a:gd name="T77" fmla="*/ 4 h 33"/>
                <a:gd name="T78" fmla="*/ 15 w 21"/>
                <a:gd name="T79" fmla="*/ 3 h 33"/>
                <a:gd name="T80" fmla="*/ 14 w 21"/>
                <a:gd name="T81" fmla="*/ 2 h 33"/>
                <a:gd name="T82" fmla="*/ 11 w 21"/>
                <a:gd name="T83" fmla="*/ 1 h 33"/>
                <a:gd name="T84" fmla="*/ 6 w 21"/>
                <a:gd name="T85" fmla="*/ 1 h 33"/>
                <a:gd name="T86" fmla="*/ 1 w 21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" h="3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9" y="6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21" y="14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4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4"/>
                  </a:lnTo>
                  <a:lnTo>
                    <a:pt x="20" y="20"/>
                  </a:lnTo>
                  <a:lnTo>
                    <a:pt x="20" y="17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5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286">
              <a:extLst>
                <a:ext uri="{FF2B5EF4-FFF2-40B4-BE49-F238E27FC236}">
                  <a16:creationId xmlns:a16="http://schemas.microsoft.com/office/drawing/2014/main" id="{F6AA63C4-8CB6-427D-B88E-5F13C7D03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34"/>
              <a:ext cx="179" cy="248"/>
            </a:xfrm>
            <a:custGeom>
              <a:avLst/>
              <a:gdLst>
                <a:gd name="T0" fmla="*/ 14 w 14"/>
                <a:gd name="T1" fmla="*/ 21 h 21"/>
                <a:gd name="T2" fmla="*/ 14 w 14"/>
                <a:gd name="T3" fmla="*/ 21 h 21"/>
                <a:gd name="T4" fmla="*/ 14 w 14"/>
                <a:gd name="T5" fmla="*/ 21 h 21"/>
                <a:gd name="T6" fmla="*/ 14 w 14"/>
                <a:gd name="T7" fmla="*/ 21 h 21"/>
                <a:gd name="T8" fmla="*/ 14 w 14"/>
                <a:gd name="T9" fmla="*/ 21 h 21"/>
                <a:gd name="T10" fmla="*/ 14 w 14"/>
                <a:gd name="T11" fmla="*/ 21 h 21"/>
                <a:gd name="T12" fmla="*/ 14 w 14"/>
                <a:gd name="T13" fmla="*/ 21 h 21"/>
                <a:gd name="T14" fmla="*/ 14 w 14"/>
                <a:gd name="T15" fmla="*/ 21 h 21"/>
                <a:gd name="T16" fmla="*/ 13 w 14"/>
                <a:gd name="T17" fmla="*/ 21 h 21"/>
                <a:gd name="T18" fmla="*/ 13 w 14"/>
                <a:gd name="T19" fmla="*/ 21 h 21"/>
                <a:gd name="T20" fmla="*/ 13 w 14"/>
                <a:gd name="T21" fmla="*/ 21 h 21"/>
                <a:gd name="T22" fmla="*/ 13 w 14"/>
                <a:gd name="T23" fmla="*/ 21 h 21"/>
                <a:gd name="T24" fmla="*/ 13 w 14"/>
                <a:gd name="T25" fmla="*/ 16 h 21"/>
                <a:gd name="T26" fmla="*/ 12 w 14"/>
                <a:gd name="T27" fmla="*/ 12 h 21"/>
                <a:gd name="T28" fmla="*/ 12 w 14"/>
                <a:gd name="T29" fmla="*/ 12 h 21"/>
                <a:gd name="T30" fmla="*/ 11 w 14"/>
                <a:gd name="T31" fmla="*/ 8 h 21"/>
                <a:gd name="T32" fmla="*/ 10 w 14"/>
                <a:gd name="T33" fmla="*/ 5 h 21"/>
                <a:gd name="T34" fmla="*/ 10 w 14"/>
                <a:gd name="T35" fmla="*/ 4 h 21"/>
                <a:gd name="T36" fmla="*/ 10 w 14"/>
                <a:gd name="T37" fmla="*/ 4 h 21"/>
                <a:gd name="T38" fmla="*/ 9 w 14"/>
                <a:gd name="T39" fmla="*/ 3 h 21"/>
                <a:gd name="T40" fmla="*/ 9 w 14"/>
                <a:gd name="T41" fmla="*/ 3 h 21"/>
                <a:gd name="T42" fmla="*/ 8 w 14"/>
                <a:gd name="T43" fmla="*/ 2 h 21"/>
                <a:gd name="T44" fmla="*/ 8 w 14"/>
                <a:gd name="T45" fmla="*/ 2 h 21"/>
                <a:gd name="T46" fmla="*/ 8 w 14"/>
                <a:gd name="T47" fmla="*/ 2 h 21"/>
                <a:gd name="T48" fmla="*/ 8 w 14"/>
                <a:gd name="T49" fmla="*/ 2 h 21"/>
                <a:gd name="T50" fmla="*/ 6 w 14"/>
                <a:gd name="T51" fmla="*/ 1 h 21"/>
                <a:gd name="T52" fmla="*/ 6 w 14"/>
                <a:gd name="T53" fmla="*/ 1 h 21"/>
                <a:gd name="T54" fmla="*/ 5 w 14"/>
                <a:gd name="T55" fmla="*/ 1 h 21"/>
                <a:gd name="T56" fmla="*/ 3 w 14"/>
                <a:gd name="T57" fmla="*/ 1 h 21"/>
                <a:gd name="T58" fmla="*/ 1 w 14"/>
                <a:gd name="T59" fmla="*/ 1 h 21"/>
                <a:gd name="T60" fmla="*/ 0 w 14"/>
                <a:gd name="T61" fmla="*/ 1 h 21"/>
                <a:gd name="T62" fmla="*/ 0 w 14"/>
                <a:gd name="T63" fmla="*/ 1 h 21"/>
                <a:gd name="T64" fmla="*/ 0 w 14"/>
                <a:gd name="T65" fmla="*/ 1 h 21"/>
                <a:gd name="T66" fmla="*/ 0 w 14"/>
                <a:gd name="T67" fmla="*/ 0 h 21"/>
                <a:gd name="T68" fmla="*/ 0 w 14"/>
                <a:gd name="T69" fmla="*/ 0 h 21"/>
                <a:gd name="T70" fmla="*/ 0 w 14"/>
                <a:gd name="T71" fmla="*/ 0 h 21"/>
                <a:gd name="T72" fmla="*/ 0 w 14"/>
                <a:gd name="T73" fmla="*/ 0 h 21"/>
                <a:gd name="T74" fmla="*/ 1 w 14"/>
                <a:gd name="T75" fmla="*/ 0 h 21"/>
                <a:gd name="T76" fmla="*/ 3 w 14"/>
                <a:gd name="T77" fmla="*/ 0 h 21"/>
                <a:gd name="T78" fmla="*/ 5 w 14"/>
                <a:gd name="T79" fmla="*/ 0 h 21"/>
                <a:gd name="T80" fmla="*/ 6 w 14"/>
                <a:gd name="T81" fmla="*/ 1 h 21"/>
                <a:gd name="T82" fmla="*/ 6 w 14"/>
                <a:gd name="T83" fmla="*/ 1 h 21"/>
                <a:gd name="T84" fmla="*/ 8 w 14"/>
                <a:gd name="T85" fmla="*/ 1 h 21"/>
                <a:gd name="T86" fmla="*/ 8 w 14"/>
                <a:gd name="T87" fmla="*/ 1 h 21"/>
                <a:gd name="T88" fmla="*/ 9 w 14"/>
                <a:gd name="T89" fmla="*/ 2 h 21"/>
                <a:gd name="T90" fmla="*/ 9 w 14"/>
                <a:gd name="T91" fmla="*/ 2 h 21"/>
                <a:gd name="T92" fmla="*/ 10 w 14"/>
                <a:gd name="T93" fmla="*/ 3 h 21"/>
                <a:gd name="T94" fmla="*/ 10 w 14"/>
                <a:gd name="T95" fmla="*/ 3 h 21"/>
                <a:gd name="T96" fmla="*/ 10 w 14"/>
                <a:gd name="T97" fmla="*/ 4 h 21"/>
                <a:gd name="T98" fmla="*/ 10 w 14"/>
                <a:gd name="T99" fmla="*/ 4 h 21"/>
                <a:gd name="T100" fmla="*/ 11 w 14"/>
                <a:gd name="T101" fmla="*/ 5 h 21"/>
                <a:gd name="T102" fmla="*/ 11 w 14"/>
                <a:gd name="T103" fmla="*/ 5 h 21"/>
                <a:gd name="T104" fmla="*/ 11 w 14"/>
                <a:gd name="T105" fmla="*/ 8 h 21"/>
                <a:gd name="T106" fmla="*/ 11 w 14"/>
                <a:gd name="T107" fmla="*/ 8 h 21"/>
                <a:gd name="T108" fmla="*/ 13 w 14"/>
                <a:gd name="T109" fmla="*/ 12 h 21"/>
                <a:gd name="T110" fmla="*/ 13 w 14"/>
                <a:gd name="T111" fmla="*/ 16 h 21"/>
                <a:gd name="T112" fmla="*/ 14 w 14"/>
                <a:gd name="T1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" h="21"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8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12"/>
                  </a:lnTo>
                  <a:lnTo>
                    <a:pt x="13" y="16"/>
                  </a:lnTo>
                  <a:lnTo>
                    <a:pt x="14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287">
              <a:extLst>
                <a:ext uri="{FF2B5EF4-FFF2-40B4-BE49-F238E27FC236}">
                  <a16:creationId xmlns:a16="http://schemas.microsoft.com/office/drawing/2014/main" id="{590B9991-0D18-44D2-96CD-B306E6116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34"/>
              <a:ext cx="179" cy="248"/>
            </a:xfrm>
            <a:custGeom>
              <a:avLst/>
              <a:gdLst>
                <a:gd name="T0" fmla="*/ 14 w 14"/>
                <a:gd name="T1" fmla="*/ 21 h 21"/>
                <a:gd name="T2" fmla="*/ 14 w 14"/>
                <a:gd name="T3" fmla="*/ 21 h 21"/>
                <a:gd name="T4" fmla="*/ 14 w 14"/>
                <a:gd name="T5" fmla="*/ 21 h 21"/>
                <a:gd name="T6" fmla="*/ 14 w 14"/>
                <a:gd name="T7" fmla="*/ 21 h 21"/>
                <a:gd name="T8" fmla="*/ 14 w 14"/>
                <a:gd name="T9" fmla="*/ 21 h 21"/>
                <a:gd name="T10" fmla="*/ 14 w 14"/>
                <a:gd name="T11" fmla="*/ 21 h 21"/>
                <a:gd name="T12" fmla="*/ 14 w 14"/>
                <a:gd name="T13" fmla="*/ 21 h 21"/>
                <a:gd name="T14" fmla="*/ 14 w 14"/>
                <a:gd name="T15" fmla="*/ 21 h 21"/>
                <a:gd name="T16" fmla="*/ 13 w 14"/>
                <a:gd name="T17" fmla="*/ 21 h 21"/>
                <a:gd name="T18" fmla="*/ 13 w 14"/>
                <a:gd name="T19" fmla="*/ 21 h 21"/>
                <a:gd name="T20" fmla="*/ 13 w 14"/>
                <a:gd name="T21" fmla="*/ 21 h 21"/>
                <a:gd name="T22" fmla="*/ 13 w 14"/>
                <a:gd name="T23" fmla="*/ 21 h 21"/>
                <a:gd name="T24" fmla="*/ 13 w 14"/>
                <a:gd name="T25" fmla="*/ 21 h 21"/>
                <a:gd name="T26" fmla="*/ 12 w 14"/>
                <a:gd name="T27" fmla="*/ 15 h 21"/>
                <a:gd name="T28" fmla="*/ 12 w 14"/>
                <a:gd name="T29" fmla="*/ 15 h 21"/>
                <a:gd name="T30" fmla="*/ 11 w 14"/>
                <a:gd name="T31" fmla="*/ 10 h 21"/>
                <a:gd name="T32" fmla="*/ 10 w 14"/>
                <a:gd name="T33" fmla="*/ 8 h 21"/>
                <a:gd name="T34" fmla="*/ 10 w 14"/>
                <a:gd name="T35" fmla="*/ 5 h 21"/>
                <a:gd name="T36" fmla="*/ 9 w 14"/>
                <a:gd name="T37" fmla="*/ 4 h 21"/>
                <a:gd name="T38" fmla="*/ 9 w 14"/>
                <a:gd name="T39" fmla="*/ 3 h 21"/>
                <a:gd name="T40" fmla="*/ 9 w 14"/>
                <a:gd name="T41" fmla="*/ 3 h 21"/>
                <a:gd name="T42" fmla="*/ 8 w 14"/>
                <a:gd name="T43" fmla="*/ 2 h 21"/>
                <a:gd name="T44" fmla="*/ 8 w 14"/>
                <a:gd name="T45" fmla="*/ 3 h 21"/>
                <a:gd name="T46" fmla="*/ 7 w 14"/>
                <a:gd name="T47" fmla="*/ 2 h 21"/>
                <a:gd name="T48" fmla="*/ 7 w 14"/>
                <a:gd name="T49" fmla="*/ 2 h 21"/>
                <a:gd name="T50" fmla="*/ 6 w 14"/>
                <a:gd name="T51" fmla="*/ 1 h 21"/>
                <a:gd name="T52" fmla="*/ 6 w 14"/>
                <a:gd name="T53" fmla="*/ 1 h 21"/>
                <a:gd name="T54" fmla="*/ 4 w 14"/>
                <a:gd name="T55" fmla="*/ 1 h 21"/>
                <a:gd name="T56" fmla="*/ 1 w 14"/>
                <a:gd name="T57" fmla="*/ 1 h 21"/>
                <a:gd name="T58" fmla="*/ 1 w 14"/>
                <a:gd name="T59" fmla="*/ 1 h 21"/>
                <a:gd name="T60" fmla="*/ 0 w 14"/>
                <a:gd name="T61" fmla="*/ 1 h 21"/>
                <a:gd name="T62" fmla="*/ 0 w 14"/>
                <a:gd name="T63" fmla="*/ 1 h 21"/>
                <a:gd name="T64" fmla="*/ 0 w 14"/>
                <a:gd name="T65" fmla="*/ 1 h 21"/>
                <a:gd name="T66" fmla="*/ 0 w 14"/>
                <a:gd name="T67" fmla="*/ 0 h 21"/>
                <a:gd name="T68" fmla="*/ 0 w 14"/>
                <a:gd name="T69" fmla="*/ 0 h 21"/>
                <a:gd name="T70" fmla="*/ 1 w 14"/>
                <a:gd name="T71" fmla="*/ 0 h 21"/>
                <a:gd name="T72" fmla="*/ 1 w 14"/>
                <a:gd name="T73" fmla="*/ 0 h 21"/>
                <a:gd name="T74" fmla="*/ 4 w 14"/>
                <a:gd name="T75" fmla="*/ 0 h 21"/>
                <a:gd name="T76" fmla="*/ 6 w 14"/>
                <a:gd name="T77" fmla="*/ 1 h 21"/>
                <a:gd name="T78" fmla="*/ 6 w 14"/>
                <a:gd name="T79" fmla="*/ 1 h 21"/>
                <a:gd name="T80" fmla="*/ 8 w 14"/>
                <a:gd name="T81" fmla="*/ 1 h 21"/>
                <a:gd name="T82" fmla="*/ 8 w 14"/>
                <a:gd name="T83" fmla="*/ 1 h 21"/>
                <a:gd name="T84" fmla="*/ 9 w 14"/>
                <a:gd name="T85" fmla="*/ 2 h 21"/>
                <a:gd name="T86" fmla="*/ 9 w 14"/>
                <a:gd name="T87" fmla="*/ 2 h 21"/>
                <a:gd name="T88" fmla="*/ 9 w 14"/>
                <a:gd name="T89" fmla="*/ 3 h 21"/>
                <a:gd name="T90" fmla="*/ 9 w 14"/>
                <a:gd name="T91" fmla="*/ 3 h 21"/>
                <a:gd name="T92" fmla="*/ 10 w 14"/>
                <a:gd name="T93" fmla="*/ 4 h 21"/>
                <a:gd name="T94" fmla="*/ 10 w 14"/>
                <a:gd name="T95" fmla="*/ 4 h 21"/>
                <a:gd name="T96" fmla="*/ 10 w 14"/>
                <a:gd name="T97" fmla="*/ 5 h 21"/>
                <a:gd name="T98" fmla="*/ 10 w 14"/>
                <a:gd name="T99" fmla="*/ 5 h 21"/>
                <a:gd name="T100" fmla="*/ 11 w 14"/>
                <a:gd name="T101" fmla="*/ 7 h 21"/>
                <a:gd name="T102" fmla="*/ 12 w 14"/>
                <a:gd name="T103" fmla="*/ 10 h 21"/>
                <a:gd name="T104" fmla="*/ 12 w 14"/>
                <a:gd name="T105" fmla="*/ 10 h 21"/>
                <a:gd name="T106" fmla="*/ 13 w 14"/>
                <a:gd name="T107" fmla="*/ 15 h 21"/>
                <a:gd name="T108" fmla="*/ 14 w 14"/>
                <a:gd name="T10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" h="21"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0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4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7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5"/>
                  </a:lnTo>
                  <a:lnTo>
                    <a:pt x="14" y="2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288">
              <a:extLst>
                <a:ext uri="{FF2B5EF4-FFF2-40B4-BE49-F238E27FC236}">
                  <a16:creationId xmlns:a16="http://schemas.microsoft.com/office/drawing/2014/main" id="{B5AA323A-A24A-47F0-86A2-C4C9AE002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57"/>
              <a:ext cx="102" cy="12"/>
            </a:xfrm>
            <a:custGeom>
              <a:avLst/>
              <a:gdLst>
                <a:gd name="T0" fmla="*/ 1 w 8"/>
                <a:gd name="T1" fmla="*/ 0 h 1"/>
                <a:gd name="T2" fmla="*/ 1 w 8"/>
                <a:gd name="T3" fmla="*/ 0 h 1"/>
                <a:gd name="T4" fmla="*/ 1 w 8"/>
                <a:gd name="T5" fmla="*/ 0 h 1"/>
                <a:gd name="T6" fmla="*/ 0 w 8"/>
                <a:gd name="T7" fmla="*/ 0 h 1"/>
                <a:gd name="T8" fmla="*/ 0 w 8"/>
                <a:gd name="T9" fmla="*/ 0 h 1"/>
                <a:gd name="T10" fmla="*/ 0 w 8"/>
                <a:gd name="T11" fmla="*/ 0 h 1"/>
                <a:gd name="T12" fmla="*/ 1 w 8"/>
                <a:gd name="T13" fmla="*/ 0 h 1"/>
                <a:gd name="T14" fmla="*/ 3 w 8"/>
                <a:gd name="T15" fmla="*/ 0 h 1"/>
                <a:gd name="T16" fmla="*/ 5 w 8"/>
                <a:gd name="T17" fmla="*/ 0 h 1"/>
                <a:gd name="T18" fmla="*/ 6 w 8"/>
                <a:gd name="T19" fmla="*/ 0 h 1"/>
                <a:gd name="T20" fmla="*/ 8 w 8"/>
                <a:gd name="T21" fmla="*/ 0 h 1"/>
                <a:gd name="T22" fmla="*/ 8 w 8"/>
                <a:gd name="T23" fmla="*/ 0 h 1"/>
                <a:gd name="T24" fmla="*/ 8 w 8"/>
                <a:gd name="T25" fmla="*/ 0 h 1"/>
                <a:gd name="T26" fmla="*/ 8 w 8"/>
                <a:gd name="T27" fmla="*/ 0 h 1"/>
                <a:gd name="T28" fmla="*/ 8 w 8"/>
                <a:gd name="T29" fmla="*/ 0 h 1"/>
                <a:gd name="T30" fmla="*/ 8 w 8"/>
                <a:gd name="T31" fmla="*/ 0 h 1"/>
                <a:gd name="T32" fmla="*/ 8 w 8"/>
                <a:gd name="T33" fmla="*/ 0 h 1"/>
                <a:gd name="T34" fmla="*/ 8 w 8"/>
                <a:gd name="T35" fmla="*/ 0 h 1"/>
                <a:gd name="T36" fmla="*/ 8 w 8"/>
                <a:gd name="T37" fmla="*/ 0 h 1"/>
                <a:gd name="T38" fmla="*/ 8 w 8"/>
                <a:gd name="T39" fmla="*/ 0 h 1"/>
                <a:gd name="T40" fmla="*/ 8 w 8"/>
                <a:gd name="T41" fmla="*/ 0 h 1"/>
                <a:gd name="T42" fmla="*/ 8 w 8"/>
                <a:gd name="T43" fmla="*/ 0 h 1"/>
                <a:gd name="T44" fmla="*/ 8 w 8"/>
                <a:gd name="T45" fmla="*/ 0 h 1"/>
                <a:gd name="T46" fmla="*/ 8 w 8"/>
                <a:gd name="T47" fmla="*/ 1 h 1"/>
                <a:gd name="T48" fmla="*/ 8 w 8"/>
                <a:gd name="T49" fmla="*/ 1 h 1"/>
                <a:gd name="T50" fmla="*/ 8 w 8"/>
                <a:gd name="T51" fmla="*/ 1 h 1"/>
                <a:gd name="T52" fmla="*/ 8 w 8"/>
                <a:gd name="T53" fmla="*/ 1 h 1"/>
                <a:gd name="T54" fmla="*/ 8 w 8"/>
                <a:gd name="T55" fmla="*/ 1 h 1"/>
                <a:gd name="T56" fmla="*/ 8 w 8"/>
                <a:gd name="T57" fmla="*/ 1 h 1"/>
                <a:gd name="T58" fmla="*/ 8 w 8"/>
                <a:gd name="T59" fmla="*/ 1 h 1"/>
                <a:gd name="T60" fmla="*/ 6 w 8"/>
                <a:gd name="T61" fmla="*/ 1 h 1"/>
                <a:gd name="T62" fmla="*/ 5 w 8"/>
                <a:gd name="T63" fmla="*/ 0 h 1"/>
                <a:gd name="T64" fmla="*/ 3 w 8"/>
                <a:gd name="T65" fmla="*/ 0 h 1"/>
                <a:gd name="T66" fmla="*/ 3 w 8"/>
                <a:gd name="T67" fmla="*/ 0 h 1"/>
                <a:gd name="T68" fmla="*/ 1 w 8"/>
                <a:gd name="T6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289">
              <a:extLst>
                <a:ext uri="{FF2B5EF4-FFF2-40B4-BE49-F238E27FC236}">
                  <a16:creationId xmlns:a16="http://schemas.microsoft.com/office/drawing/2014/main" id="{5EEB2E9B-423A-4F19-BC23-E62A2BF60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46"/>
              <a:ext cx="102" cy="23"/>
            </a:xfrm>
            <a:custGeom>
              <a:avLst/>
              <a:gdLst>
                <a:gd name="T0" fmla="*/ 0 w 8"/>
                <a:gd name="T1" fmla="*/ 1 h 2"/>
                <a:gd name="T2" fmla="*/ 0 w 8"/>
                <a:gd name="T3" fmla="*/ 1 h 2"/>
                <a:gd name="T4" fmla="*/ 0 w 8"/>
                <a:gd name="T5" fmla="*/ 1 h 2"/>
                <a:gd name="T6" fmla="*/ 0 w 8"/>
                <a:gd name="T7" fmla="*/ 1 h 2"/>
                <a:gd name="T8" fmla="*/ 0 w 8"/>
                <a:gd name="T9" fmla="*/ 0 h 2"/>
                <a:gd name="T10" fmla="*/ 0 w 8"/>
                <a:gd name="T11" fmla="*/ 0 h 2"/>
                <a:gd name="T12" fmla="*/ 0 w 8"/>
                <a:gd name="T13" fmla="*/ 0 h 2"/>
                <a:gd name="T14" fmla="*/ 3 w 8"/>
                <a:gd name="T15" fmla="*/ 0 h 2"/>
                <a:gd name="T16" fmla="*/ 5 w 8"/>
                <a:gd name="T17" fmla="*/ 0 h 2"/>
                <a:gd name="T18" fmla="*/ 7 w 8"/>
                <a:gd name="T19" fmla="*/ 1 h 2"/>
                <a:gd name="T20" fmla="*/ 8 w 8"/>
                <a:gd name="T21" fmla="*/ 1 h 2"/>
                <a:gd name="T22" fmla="*/ 8 w 8"/>
                <a:gd name="T23" fmla="*/ 1 h 2"/>
                <a:gd name="T24" fmla="*/ 8 w 8"/>
                <a:gd name="T25" fmla="*/ 1 h 2"/>
                <a:gd name="T26" fmla="*/ 8 w 8"/>
                <a:gd name="T27" fmla="*/ 1 h 2"/>
                <a:gd name="T28" fmla="*/ 8 w 8"/>
                <a:gd name="T29" fmla="*/ 1 h 2"/>
                <a:gd name="T30" fmla="*/ 8 w 8"/>
                <a:gd name="T31" fmla="*/ 1 h 2"/>
                <a:gd name="T32" fmla="*/ 8 w 8"/>
                <a:gd name="T33" fmla="*/ 1 h 2"/>
                <a:gd name="T34" fmla="*/ 8 w 8"/>
                <a:gd name="T35" fmla="*/ 1 h 2"/>
                <a:gd name="T36" fmla="*/ 8 w 8"/>
                <a:gd name="T37" fmla="*/ 1 h 2"/>
                <a:gd name="T38" fmla="*/ 8 w 8"/>
                <a:gd name="T39" fmla="*/ 1 h 2"/>
                <a:gd name="T40" fmla="*/ 8 w 8"/>
                <a:gd name="T41" fmla="*/ 1 h 2"/>
                <a:gd name="T42" fmla="*/ 8 w 8"/>
                <a:gd name="T43" fmla="*/ 2 h 2"/>
                <a:gd name="T44" fmla="*/ 8 w 8"/>
                <a:gd name="T45" fmla="*/ 2 h 2"/>
                <a:gd name="T46" fmla="*/ 8 w 8"/>
                <a:gd name="T47" fmla="*/ 1 h 2"/>
                <a:gd name="T48" fmla="*/ 7 w 8"/>
                <a:gd name="T49" fmla="*/ 1 h 2"/>
                <a:gd name="T50" fmla="*/ 5 w 8"/>
                <a:gd name="T51" fmla="*/ 1 h 2"/>
                <a:gd name="T52" fmla="*/ 3 w 8"/>
                <a:gd name="T53" fmla="*/ 1 h 2"/>
                <a:gd name="T54" fmla="*/ 3 w 8"/>
                <a:gd name="T55" fmla="*/ 1 h 2"/>
                <a:gd name="T56" fmla="*/ 0 w 8"/>
                <a:gd name="T5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2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290">
              <a:extLst>
                <a:ext uri="{FF2B5EF4-FFF2-40B4-BE49-F238E27FC236}">
                  <a16:creationId xmlns:a16="http://schemas.microsoft.com/office/drawing/2014/main" id="{A7F8930A-9408-43B7-BFAE-00EB1929B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46"/>
              <a:ext cx="102" cy="11"/>
            </a:xfrm>
            <a:custGeom>
              <a:avLst/>
              <a:gdLst>
                <a:gd name="T0" fmla="*/ 0 w 8"/>
                <a:gd name="T1" fmla="*/ 1 h 1"/>
                <a:gd name="T2" fmla="*/ 0 w 8"/>
                <a:gd name="T3" fmla="*/ 0 h 1"/>
                <a:gd name="T4" fmla="*/ 0 w 8"/>
                <a:gd name="T5" fmla="*/ 0 h 1"/>
                <a:gd name="T6" fmla="*/ 0 w 8"/>
                <a:gd name="T7" fmla="*/ 0 h 1"/>
                <a:gd name="T8" fmla="*/ 0 w 8"/>
                <a:gd name="T9" fmla="*/ 0 h 1"/>
                <a:gd name="T10" fmla="*/ 0 w 8"/>
                <a:gd name="T11" fmla="*/ 0 h 1"/>
                <a:gd name="T12" fmla="*/ 0 w 8"/>
                <a:gd name="T13" fmla="*/ 0 h 1"/>
                <a:gd name="T14" fmla="*/ 0 w 8"/>
                <a:gd name="T15" fmla="*/ 0 h 1"/>
                <a:gd name="T16" fmla="*/ 0 w 8"/>
                <a:gd name="T17" fmla="*/ 0 h 1"/>
                <a:gd name="T18" fmla="*/ 3 w 8"/>
                <a:gd name="T19" fmla="*/ 0 h 1"/>
                <a:gd name="T20" fmla="*/ 5 w 8"/>
                <a:gd name="T21" fmla="*/ 0 h 1"/>
                <a:gd name="T22" fmla="*/ 6 w 8"/>
                <a:gd name="T23" fmla="*/ 0 h 1"/>
                <a:gd name="T24" fmla="*/ 6 w 8"/>
                <a:gd name="T25" fmla="*/ 0 h 1"/>
                <a:gd name="T26" fmla="*/ 8 w 8"/>
                <a:gd name="T27" fmla="*/ 1 h 1"/>
                <a:gd name="T28" fmla="*/ 8 w 8"/>
                <a:gd name="T29" fmla="*/ 1 h 1"/>
                <a:gd name="T30" fmla="*/ 8 w 8"/>
                <a:gd name="T31" fmla="*/ 1 h 1"/>
                <a:gd name="T32" fmla="*/ 8 w 8"/>
                <a:gd name="T33" fmla="*/ 1 h 1"/>
                <a:gd name="T34" fmla="*/ 8 w 8"/>
                <a:gd name="T35" fmla="*/ 1 h 1"/>
                <a:gd name="T36" fmla="*/ 8 w 8"/>
                <a:gd name="T37" fmla="*/ 1 h 1"/>
                <a:gd name="T38" fmla="*/ 8 w 8"/>
                <a:gd name="T39" fmla="*/ 1 h 1"/>
                <a:gd name="T40" fmla="*/ 8 w 8"/>
                <a:gd name="T41" fmla="*/ 1 h 1"/>
                <a:gd name="T42" fmla="*/ 8 w 8"/>
                <a:gd name="T43" fmla="*/ 1 h 1"/>
                <a:gd name="T44" fmla="*/ 6 w 8"/>
                <a:gd name="T45" fmla="*/ 1 h 1"/>
                <a:gd name="T46" fmla="*/ 5 w 8"/>
                <a:gd name="T47" fmla="*/ 1 h 1"/>
                <a:gd name="T48" fmla="*/ 3 w 8"/>
                <a:gd name="T49" fmla="*/ 1 h 1"/>
                <a:gd name="T50" fmla="*/ 0 w 8"/>
                <a:gd name="T5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291">
              <a:extLst>
                <a:ext uri="{FF2B5EF4-FFF2-40B4-BE49-F238E27FC236}">
                  <a16:creationId xmlns:a16="http://schemas.microsoft.com/office/drawing/2014/main" id="{BF16704F-9620-4FF7-96D4-B468487B1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" y="1634"/>
              <a:ext cx="102" cy="23"/>
            </a:xfrm>
            <a:custGeom>
              <a:avLst/>
              <a:gdLst>
                <a:gd name="T0" fmla="*/ 1 w 8"/>
                <a:gd name="T1" fmla="*/ 1 h 2"/>
                <a:gd name="T2" fmla="*/ 0 w 8"/>
                <a:gd name="T3" fmla="*/ 1 h 2"/>
                <a:gd name="T4" fmla="*/ 0 w 8"/>
                <a:gd name="T5" fmla="*/ 1 h 2"/>
                <a:gd name="T6" fmla="*/ 0 w 8"/>
                <a:gd name="T7" fmla="*/ 1 h 2"/>
                <a:gd name="T8" fmla="*/ 0 w 8"/>
                <a:gd name="T9" fmla="*/ 1 h 2"/>
                <a:gd name="T10" fmla="*/ 0 w 8"/>
                <a:gd name="T11" fmla="*/ 1 h 2"/>
                <a:gd name="T12" fmla="*/ 0 w 8"/>
                <a:gd name="T13" fmla="*/ 1 h 2"/>
                <a:gd name="T14" fmla="*/ 0 w 8"/>
                <a:gd name="T15" fmla="*/ 0 h 2"/>
                <a:gd name="T16" fmla="*/ 1 w 8"/>
                <a:gd name="T17" fmla="*/ 0 h 2"/>
                <a:gd name="T18" fmla="*/ 3 w 8"/>
                <a:gd name="T19" fmla="*/ 1 h 2"/>
                <a:gd name="T20" fmla="*/ 4 w 8"/>
                <a:gd name="T21" fmla="*/ 1 h 2"/>
                <a:gd name="T22" fmla="*/ 6 w 8"/>
                <a:gd name="T23" fmla="*/ 1 h 2"/>
                <a:gd name="T24" fmla="*/ 6 w 8"/>
                <a:gd name="T25" fmla="*/ 1 h 2"/>
                <a:gd name="T26" fmla="*/ 7 w 8"/>
                <a:gd name="T27" fmla="*/ 1 h 2"/>
                <a:gd name="T28" fmla="*/ 7 w 8"/>
                <a:gd name="T29" fmla="*/ 1 h 2"/>
                <a:gd name="T30" fmla="*/ 7 w 8"/>
                <a:gd name="T31" fmla="*/ 1 h 2"/>
                <a:gd name="T32" fmla="*/ 8 w 8"/>
                <a:gd name="T33" fmla="*/ 2 h 2"/>
                <a:gd name="T34" fmla="*/ 8 w 8"/>
                <a:gd name="T35" fmla="*/ 2 h 2"/>
                <a:gd name="T36" fmla="*/ 8 w 8"/>
                <a:gd name="T37" fmla="*/ 2 h 2"/>
                <a:gd name="T38" fmla="*/ 8 w 8"/>
                <a:gd name="T39" fmla="*/ 2 h 2"/>
                <a:gd name="T40" fmla="*/ 8 w 8"/>
                <a:gd name="T41" fmla="*/ 2 h 2"/>
                <a:gd name="T42" fmla="*/ 8 w 8"/>
                <a:gd name="T43" fmla="*/ 2 h 2"/>
                <a:gd name="T44" fmla="*/ 8 w 8"/>
                <a:gd name="T45" fmla="*/ 2 h 2"/>
                <a:gd name="T46" fmla="*/ 8 w 8"/>
                <a:gd name="T47" fmla="*/ 2 h 2"/>
                <a:gd name="T48" fmla="*/ 8 w 8"/>
                <a:gd name="T49" fmla="*/ 2 h 2"/>
                <a:gd name="T50" fmla="*/ 8 w 8"/>
                <a:gd name="T51" fmla="*/ 2 h 2"/>
                <a:gd name="T52" fmla="*/ 8 w 8"/>
                <a:gd name="T53" fmla="*/ 2 h 2"/>
                <a:gd name="T54" fmla="*/ 8 w 8"/>
                <a:gd name="T55" fmla="*/ 2 h 2"/>
                <a:gd name="T56" fmla="*/ 7 w 8"/>
                <a:gd name="T57" fmla="*/ 2 h 2"/>
                <a:gd name="T58" fmla="*/ 7 w 8"/>
                <a:gd name="T59" fmla="*/ 2 h 2"/>
                <a:gd name="T60" fmla="*/ 7 w 8"/>
                <a:gd name="T61" fmla="*/ 2 h 2"/>
                <a:gd name="T62" fmla="*/ 6 w 8"/>
                <a:gd name="T63" fmla="*/ 2 h 2"/>
                <a:gd name="T64" fmla="*/ 6 w 8"/>
                <a:gd name="T65" fmla="*/ 2 h 2"/>
                <a:gd name="T66" fmla="*/ 6 w 8"/>
                <a:gd name="T67" fmla="*/ 1 h 2"/>
                <a:gd name="T68" fmla="*/ 6 w 8"/>
                <a:gd name="T69" fmla="*/ 2 h 2"/>
                <a:gd name="T70" fmla="*/ 4 w 8"/>
                <a:gd name="T71" fmla="*/ 1 h 2"/>
                <a:gd name="T72" fmla="*/ 2 w 8"/>
                <a:gd name="T73" fmla="*/ 1 h 2"/>
                <a:gd name="T74" fmla="*/ 1 w 8"/>
                <a:gd name="T7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2">
                  <a:moveTo>
                    <a:pt x="1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292">
              <a:extLst>
                <a:ext uri="{FF2B5EF4-FFF2-40B4-BE49-F238E27FC236}">
                  <a16:creationId xmlns:a16="http://schemas.microsoft.com/office/drawing/2014/main" id="{14A9379C-30D7-48BF-8B19-BEB7A576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" y="1775"/>
              <a:ext cx="26" cy="12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0 h 1"/>
                <a:gd name="T4" fmla="*/ 0 w 2"/>
                <a:gd name="T5" fmla="*/ 0 h 1"/>
                <a:gd name="T6" fmla="*/ 0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1 w 2"/>
                <a:gd name="T15" fmla="*/ 0 h 1"/>
                <a:gd name="T16" fmla="*/ 1 w 2"/>
                <a:gd name="T17" fmla="*/ 0 h 1"/>
                <a:gd name="T18" fmla="*/ 2 w 2"/>
                <a:gd name="T19" fmla="*/ 0 h 1"/>
                <a:gd name="T20" fmla="*/ 2 w 2"/>
                <a:gd name="T21" fmla="*/ 1 h 1"/>
                <a:gd name="T22" fmla="*/ 1 w 2"/>
                <a:gd name="T23" fmla="*/ 1 h 1"/>
                <a:gd name="T24" fmla="*/ 1 w 2"/>
                <a:gd name="T25" fmla="*/ 1 h 1"/>
                <a:gd name="T26" fmla="*/ 1 w 2"/>
                <a:gd name="T27" fmla="*/ 1 h 1"/>
                <a:gd name="T28" fmla="*/ 1 w 2"/>
                <a:gd name="T29" fmla="*/ 1 h 1"/>
                <a:gd name="T30" fmla="*/ 1 w 2"/>
                <a:gd name="T31" fmla="*/ 1 h 1"/>
                <a:gd name="T32" fmla="*/ 1 w 2"/>
                <a:gd name="T33" fmla="*/ 1 h 1"/>
                <a:gd name="T34" fmla="*/ 1 w 2"/>
                <a:gd name="T3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293">
              <a:extLst>
                <a:ext uri="{FF2B5EF4-FFF2-40B4-BE49-F238E27FC236}">
                  <a16:creationId xmlns:a16="http://schemas.microsoft.com/office/drawing/2014/main" id="{2CBB22C6-EA3C-4BA4-8E5C-A477C81D2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" y="1646"/>
              <a:ext cx="167" cy="306"/>
            </a:xfrm>
            <a:custGeom>
              <a:avLst/>
              <a:gdLst>
                <a:gd name="T0" fmla="*/ 13 w 13"/>
                <a:gd name="T1" fmla="*/ 26 h 26"/>
                <a:gd name="T2" fmla="*/ 13 w 13"/>
                <a:gd name="T3" fmla="*/ 26 h 26"/>
                <a:gd name="T4" fmla="*/ 13 w 13"/>
                <a:gd name="T5" fmla="*/ 26 h 26"/>
                <a:gd name="T6" fmla="*/ 13 w 13"/>
                <a:gd name="T7" fmla="*/ 26 h 26"/>
                <a:gd name="T8" fmla="*/ 13 w 13"/>
                <a:gd name="T9" fmla="*/ 26 h 26"/>
                <a:gd name="T10" fmla="*/ 12 w 13"/>
                <a:gd name="T11" fmla="*/ 26 h 26"/>
                <a:gd name="T12" fmla="*/ 12 w 13"/>
                <a:gd name="T13" fmla="*/ 24 h 26"/>
                <a:gd name="T14" fmla="*/ 12 w 13"/>
                <a:gd name="T15" fmla="*/ 18 h 26"/>
                <a:gd name="T16" fmla="*/ 11 w 13"/>
                <a:gd name="T17" fmla="*/ 11 h 26"/>
                <a:gd name="T18" fmla="*/ 11 w 13"/>
                <a:gd name="T19" fmla="*/ 8 h 26"/>
                <a:gd name="T20" fmla="*/ 11 w 13"/>
                <a:gd name="T21" fmla="*/ 7 h 26"/>
                <a:gd name="T22" fmla="*/ 10 w 13"/>
                <a:gd name="T23" fmla="*/ 5 h 26"/>
                <a:gd name="T24" fmla="*/ 9 w 13"/>
                <a:gd name="T25" fmla="*/ 4 h 26"/>
                <a:gd name="T26" fmla="*/ 9 w 13"/>
                <a:gd name="T27" fmla="*/ 4 h 26"/>
                <a:gd name="T28" fmla="*/ 7 w 13"/>
                <a:gd name="T29" fmla="*/ 2 h 26"/>
                <a:gd name="T30" fmla="*/ 5 w 13"/>
                <a:gd name="T31" fmla="*/ 2 h 26"/>
                <a:gd name="T32" fmla="*/ 3 w 13"/>
                <a:gd name="T33" fmla="*/ 1 h 26"/>
                <a:gd name="T34" fmla="*/ 0 w 13"/>
                <a:gd name="T35" fmla="*/ 1 h 26"/>
                <a:gd name="T36" fmla="*/ 0 w 13"/>
                <a:gd name="T37" fmla="*/ 1 h 26"/>
                <a:gd name="T38" fmla="*/ 0 w 13"/>
                <a:gd name="T39" fmla="*/ 1 h 26"/>
                <a:gd name="T40" fmla="*/ 0 w 13"/>
                <a:gd name="T41" fmla="*/ 0 h 26"/>
                <a:gd name="T42" fmla="*/ 0 w 13"/>
                <a:gd name="T43" fmla="*/ 0 h 26"/>
                <a:gd name="T44" fmla="*/ 0 w 13"/>
                <a:gd name="T45" fmla="*/ 0 h 26"/>
                <a:gd name="T46" fmla="*/ 1 w 13"/>
                <a:gd name="T47" fmla="*/ 0 h 26"/>
                <a:gd name="T48" fmla="*/ 3 w 13"/>
                <a:gd name="T49" fmla="*/ 1 h 26"/>
                <a:gd name="T50" fmla="*/ 7 w 13"/>
                <a:gd name="T51" fmla="*/ 2 h 26"/>
                <a:gd name="T52" fmla="*/ 9 w 13"/>
                <a:gd name="T53" fmla="*/ 3 h 26"/>
                <a:gd name="T54" fmla="*/ 9 w 13"/>
                <a:gd name="T55" fmla="*/ 3 h 26"/>
                <a:gd name="T56" fmla="*/ 11 w 13"/>
                <a:gd name="T57" fmla="*/ 5 h 26"/>
                <a:gd name="T58" fmla="*/ 11 w 13"/>
                <a:gd name="T59" fmla="*/ 7 h 26"/>
                <a:gd name="T60" fmla="*/ 12 w 13"/>
                <a:gd name="T61" fmla="*/ 8 h 26"/>
                <a:gd name="T62" fmla="*/ 12 w 13"/>
                <a:gd name="T63" fmla="*/ 11 h 26"/>
                <a:gd name="T64" fmla="*/ 12 w 13"/>
                <a:gd name="T65" fmla="*/ 18 h 26"/>
                <a:gd name="T66" fmla="*/ 13 w 13"/>
                <a:gd name="T67" fmla="*/ 21 h 26"/>
                <a:gd name="T68" fmla="*/ 13 w 13"/>
                <a:gd name="T6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26">
                  <a:moveTo>
                    <a:pt x="13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4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3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5" y="1"/>
                  </a:lnTo>
                  <a:lnTo>
                    <a:pt x="7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4"/>
                  </a:lnTo>
                  <a:lnTo>
                    <a:pt x="11" y="5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2" y="1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21"/>
                  </a:lnTo>
                  <a:lnTo>
                    <a:pt x="13" y="24"/>
                  </a:lnTo>
                  <a:lnTo>
                    <a:pt x="13" y="26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294">
              <a:extLst>
                <a:ext uri="{FF2B5EF4-FFF2-40B4-BE49-F238E27FC236}">
                  <a16:creationId xmlns:a16="http://schemas.microsoft.com/office/drawing/2014/main" id="{1E0C2296-E9AF-4A53-B651-26F3CB05E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" y="1669"/>
              <a:ext cx="115" cy="366"/>
            </a:xfrm>
            <a:custGeom>
              <a:avLst/>
              <a:gdLst>
                <a:gd name="T0" fmla="*/ 9 w 9"/>
                <a:gd name="T1" fmla="*/ 30 h 31"/>
                <a:gd name="T2" fmla="*/ 9 w 9"/>
                <a:gd name="T3" fmla="*/ 30 h 31"/>
                <a:gd name="T4" fmla="*/ 9 w 9"/>
                <a:gd name="T5" fmla="*/ 30 h 31"/>
                <a:gd name="T6" fmla="*/ 9 w 9"/>
                <a:gd name="T7" fmla="*/ 30 h 31"/>
                <a:gd name="T8" fmla="*/ 9 w 9"/>
                <a:gd name="T9" fmla="*/ 31 h 31"/>
                <a:gd name="T10" fmla="*/ 9 w 9"/>
                <a:gd name="T11" fmla="*/ 31 h 31"/>
                <a:gd name="T12" fmla="*/ 9 w 9"/>
                <a:gd name="T13" fmla="*/ 31 h 31"/>
                <a:gd name="T14" fmla="*/ 9 w 9"/>
                <a:gd name="T15" fmla="*/ 31 h 31"/>
                <a:gd name="T16" fmla="*/ 9 w 9"/>
                <a:gd name="T17" fmla="*/ 31 h 31"/>
                <a:gd name="T18" fmla="*/ 9 w 9"/>
                <a:gd name="T19" fmla="*/ 30 h 31"/>
                <a:gd name="T20" fmla="*/ 9 w 9"/>
                <a:gd name="T21" fmla="*/ 30 h 31"/>
                <a:gd name="T22" fmla="*/ 9 w 9"/>
                <a:gd name="T23" fmla="*/ 22 h 31"/>
                <a:gd name="T24" fmla="*/ 8 w 9"/>
                <a:gd name="T25" fmla="*/ 19 h 31"/>
                <a:gd name="T26" fmla="*/ 8 w 9"/>
                <a:gd name="T27" fmla="*/ 16 h 31"/>
                <a:gd name="T28" fmla="*/ 8 w 9"/>
                <a:gd name="T29" fmla="*/ 12 h 31"/>
                <a:gd name="T30" fmla="*/ 8 w 9"/>
                <a:gd name="T31" fmla="*/ 10 h 31"/>
                <a:gd name="T32" fmla="*/ 7 w 9"/>
                <a:gd name="T33" fmla="*/ 7 h 31"/>
                <a:gd name="T34" fmla="*/ 7 w 9"/>
                <a:gd name="T35" fmla="*/ 6 h 31"/>
                <a:gd name="T36" fmla="*/ 7 w 9"/>
                <a:gd name="T37" fmla="*/ 6 h 31"/>
                <a:gd name="T38" fmla="*/ 6 w 9"/>
                <a:gd name="T39" fmla="*/ 5 h 31"/>
                <a:gd name="T40" fmla="*/ 5 w 9"/>
                <a:gd name="T41" fmla="*/ 3 h 31"/>
                <a:gd name="T42" fmla="*/ 5 w 9"/>
                <a:gd name="T43" fmla="*/ 4 h 31"/>
                <a:gd name="T44" fmla="*/ 4 w 9"/>
                <a:gd name="T45" fmla="*/ 3 h 31"/>
                <a:gd name="T46" fmla="*/ 3 w 9"/>
                <a:gd name="T47" fmla="*/ 2 h 31"/>
                <a:gd name="T48" fmla="*/ 3 w 9"/>
                <a:gd name="T49" fmla="*/ 2 h 31"/>
                <a:gd name="T50" fmla="*/ 2 w 9"/>
                <a:gd name="T51" fmla="*/ 1 h 31"/>
                <a:gd name="T52" fmla="*/ 2 w 9"/>
                <a:gd name="T53" fmla="*/ 1 h 31"/>
                <a:gd name="T54" fmla="*/ 0 w 9"/>
                <a:gd name="T55" fmla="*/ 1 h 31"/>
                <a:gd name="T56" fmla="*/ 0 w 9"/>
                <a:gd name="T57" fmla="*/ 1 h 31"/>
                <a:gd name="T58" fmla="*/ 0 w 9"/>
                <a:gd name="T59" fmla="*/ 1 h 31"/>
                <a:gd name="T60" fmla="*/ 0 w 9"/>
                <a:gd name="T61" fmla="*/ 1 h 31"/>
                <a:gd name="T62" fmla="*/ 0 w 9"/>
                <a:gd name="T63" fmla="*/ 1 h 31"/>
                <a:gd name="T64" fmla="*/ 0 w 9"/>
                <a:gd name="T65" fmla="*/ 0 h 31"/>
                <a:gd name="T66" fmla="*/ 0 w 9"/>
                <a:gd name="T67" fmla="*/ 0 h 31"/>
                <a:gd name="T68" fmla="*/ 1 w 9"/>
                <a:gd name="T69" fmla="*/ 0 h 31"/>
                <a:gd name="T70" fmla="*/ 2 w 9"/>
                <a:gd name="T71" fmla="*/ 1 h 31"/>
                <a:gd name="T72" fmla="*/ 2 w 9"/>
                <a:gd name="T73" fmla="*/ 1 h 31"/>
                <a:gd name="T74" fmla="*/ 4 w 9"/>
                <a:gd name="T75" fmla="*/ 1 h 31"/>
                <a:gd name="T76" fmla="*/ 4 w 9"/>
                <a:gd name="T77" fmla="*/ 1 h 31"/>
                <a:gd name="T78" fmla="*/ 5 w 9"/>
                <a:gd name="T79" fmla="*/ 2 h 31"/>
                <a:gd name="T80" fmla="*/ 5 w 9"/>
                <a:gd name="T81" fmla="*/ 2 h 31"/>
                <a:gd name="T82" fmla="*/ 6 w 9"/>
                <a:gd name="T83" fmla="*/ 3 h 31"/>
                <a:gd name="T84" fmla="*/ 6 w 9"/>
                <a:gd name="T85" fmla="*/ 3 h 31"/>
                <a:gd name="T86" fmla="*/ 7 w 9"/>
                <a:gd name="T87" fmla="*/ 4 h 31"/>
                <a:gd name="T88" fmla="*/ 7 w 9"/>
                <a:gd name="T89" fmla="*/ 4 h 31"/>
                <a:gd name="T90" fmla="*/ 8 w 9"/>
                <a:gd name="T91" fmla="*/ 6 h 31"/>
                <a:gd name="T92" fmla="*/ 8 w 9"/>
                <a:gd name="T93" fmla="*/ 6 h 31"/>
                <a:gd name="T94" fmla="*/ 8 w 9"/>
                <a:gd name="T95" fmla="*/ 7 h 31"/>
                <a:gd name="T96" fmla="*/ 8 w 9"/>
                <a:gd name="T97" fmla="*/ 9 h 31"/>
                <a:gd name="T98" fmla="*/ 9 w 9"/>
                <a:gd name="T99" fmla="*/ 12 h 31"/>
                <a:gd name="T100" fmla="*/ 9 w 9"/>
                <a:gd name="T101" fmla="*/ 16 h 31"/>
                <a:gd name="T102" fmla="*/ 9 w 9"/>
                <a:gd name="T103" fmla="*/ 19 h 31"/>
                <a:gd name="T104" fmla="*/ 9 w 9"/>
                <a:gd name="T105" fmla="*/ 22 h 31"/>
                <a:gd name="T106" fmla="*/ 9 w 9"/>
                <a:gd name="T107" fmla="*/ 22 h 31"/>
                <a:gd name="T108" fmla="*/ 9 w 9"/>
                <a:gd name="T10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" h="31">
                  <a:moveTo>
                    <a:pt x="9" y="30"/>
                  </a:move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2"/>
                  </a:lnTo>
                  <a:lnTo>
                    <a:pt x="8" y="19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6" y="5"/>
                  </a:lnTo>
                  <a:lnTo>
                    <a:pt x="5" y="3"/>
                  </a:lnTo>
                  <a:lnTo>
                    <a:pt x="5" y="4"/>
                  </a:lnTo>
                  <a:lnTo>
                    <a:pt x="4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8" y="9"/>
                  </a:lnTo>
                  <a:lnTo>
                    <a:pt x="9" y="12"/>
                  </a:lnTo>
                  <a:lnTo>
                    <a:pt x="9" y="16"/>
                  </a:lnTo>
                  <a:lnTo>
                    <a:pt x="9" y="19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3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295">
              <a:extLst>
                <a:ext uri="{FF2B5EF4-FFF2-40B4-BE49-F238E27FC236}">
                  <a16:creationId xmlns:a16="http://schemas.microsoft.com/office/drawing/2014/main" id="{649F46C7-70D4-4E41-A92E-F559A0D7B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1787"/>
              <a:ext cx="26" cy="213"/>
            </a:xfrm>
            <a:custGeom>
              <a:avLst/>
              <a:gdLst>
                <a:gd name="T0" fmla="*/ 2 w 2"/>
                <a:gd name="T1" fmla="*/ 17 h 18"/>
                <a:gd name="T2" fmla="*/ 2 w 2"/>
                <a:gd name="T3" fmla="*/ 17 h 18"/>
                <a:gd name="T4" fmla="*/ 2 w 2"/>
                <a:gd name="T5" fmla="*/ 18 h 18"/>
                <a:gd name="T6" fmla="*/ 2 w 2"/>
                <a:gd name="T7" fmla="*/ 18 h 18"/>
                <a:gd name="T8" fmla="*/ 2 w 2"/>
                <a:gd name="T9" fmla="*/ 18 h 18"/>
                <a:gd name="T10" fmla="*/ 2 w 2"/>
                <a:gd name="T11" fmla="*/ 18 h 18"/>
                <a:gd name="T12" fmla="*/ 2 w 2"/>
                <a:gd name="T13" fmla="*/ 18 h 18"/>
                <a:gd name="T14" fmla="*/ 2 w 2"/>
                <a:gd name="T15" fmla="*/ 18 h 18"/>
                <a:gd name="T16" fmla="*/ 2 w 2"/>
                <a:gd name="T17" fmla="*/ 17 h 18"/>
                <a:gd name="T18" fmla="*/ 2 w 2"/>
                <a:gd name="T19" fmla="*/ 17 h 18"/>
                <a:gd name="T20" fmla="*/ 2 w 2"/>
                <a:gd name="T21" fmla="*/ 13 h 18"/>
                <a:gd name="T22" fmla="*/ 1 w 2"/>
                <a:gd name="T23" fmla="*/ 9 h 18"/>
                <a:gd name="T24" fmla="*/ 1 w 2"/>
                <a:gd name="T25" fmla="*/ 4 h 18"/>
                <a:gd name="T26" fmla="*/ 0 w 2"/>
                <a:gd name="T27" fmla="*/ 0 h 18"/>
                <a:gd name="T28" fmla="*/ 1 w 2"/>
                <a:gd name="T29" fmla="*/ 0 h 18"/>
                <a:gd name="T30" fmla="*/ 2 w 2"/>
                <a:gd name="T31" fmla="*/ 9 h 18"/>
                <a:gd name="T32" fmla="*/ 2 w 2"/>
                <a:gd name="T33" fmla="*/ 11 h 18"/>
                <a:gd name="T34" fmla="*/ 2 w 2"/>
                <a:gd name="T35" fmla="*/ 11 h 18"/>
                <a:gd name="T36" fmla="*/ 2 w 2"/>
                <a:gd name="T37" fmla="*/ 14 h 18"/>
                <a:gd name="T38" fmla="*/ 2 w 2"/>
                <a:gd name="T39" fmla="*/ 14 h 18"/>
                <a:gd name="T40" fmla="*/ 2 w 2"/>
                <a:gd name="T41" fmla="*/ 17 h 18"/>
                <a:gd name="T42" fmla="*/ 2 w 2"/>
                <a:gd name="T43" fmla="*/ 18 h 18"/>
                <a:gd name="T44" fmla="*/ 2 w 2"/>
                <a:gd name="T45" fmla="*/ 18 h 18"/>
                <a:gd name="T46" fmla="*/ 2 w 2"/>
                <a:gd name="T47" fmla="*/ 18 h 18"/>
                <a:gd name="T48" fmla="*/ 2 w 2"/>
                <a:gd name="T49" fmla="*/ 18 h 18"/>
                <a:gd name="T50" fmla="*/ 2 w 2"/>
                <a:gd name="T51" fmla="*/ 18 h 18"/>
                <a:gd name="T52" fmla="*/ 2 w 2"/>
                <a:gd name="T53" fmla="*/ 18 h 18"/>
                <a:gd name="T54" fmla="*/ 1 w 2"/>
                <a:gd name="T55" fmla="*/ 18 h 18"/>
                <a:gd name="T56" fmla="*/ 1 w 2"/>
                <a:gd name="T57" fmla="*/ 18 h 18"/>
                <a:gd name="T58" fmla="*/ 1 w 2"/>
                <a:gd name="T59" fmla="*/ 17 h 18"/>
                <a:gd name="T60" fmla="*/ 1 w 2"/>
                <a:gd name="T61" fmla="*/ 14 h 18"/>
                <a:gd name="T62" fmla="*/ 1 w 2"/>
                <a:gd name="T63" fmla="*/ 11 h 18"/>
                <a:gd name="T64" fmla="*/ 1 w 2"/>
                <a:gd name="T65" fmla="*/ 9 h 18"/>
                <a:gd name="T66" fmla="*/ 0 w 2"/>
                <a:gd name="T67" fmla="*/ 0 h 18"/>
                <a:gd name="T68" fmla="*/ 0 w 2"/>
                <a:gd name="T69" fmla="*/ 0 h 18"/>
                <a:gd name="T70" fmla="*/ 0 w 2"/>
                <a:gd name="T71" fmla="*/ 0 h 18"/>
                <a:gd name="T72" fmla="*/ 0 w 2"/>
                <a:gd name="T73" fmla="*/ 0 h 18"/>
                <a:gd name="T74" fmla="*/ 1 w 2"/>
                <a:gd name="T75" fmla="*/ 0 h 18"/>
                <a:gd name="T76" fmla="*/ 1 w 2"/>
                <a:gd name="T77" fmla="*/ 0 h 18"/>
                <a:gd name="T78" fmla="*/ 1 w 2"/>
                <a:gd name="T79" fmla="*/ 0 h 18"/>
                <a:gd name="T80" fmla="*/ 1 w 2"/>
                <a:gd name="T81" fmla="*/ 0 h 18"/>
                <a:gd name="T82" fmla="*/ 1 w 2"/>
                <a:gd name="T83" fmla="*/ 0 h 18"/>
                <a:gd name="T84" fmla="*/ 2 w 2"/>
                <a:gd name="T85" fmla="*/ 4 h 18"/>
                <a:gd name="T86" fmla="*/ 2 w 2"/>
                <a:gd name="T87" fmla="*/ 8 h 18"/>
                <a:gd name="T88" fmla="*/ 2 w 2"/>
                <a:gd name="T89" fmla="*/ 13 h 18"/>
                <a:gd name="T90" fmla="*/ 2 w 2"/>
                <a:gd name="T91" fmla="*/ 13 h 18"/>
                <a:gd name="T92" fmla="*/ 2 w 2"/>
                <a:gd name="T9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" h="18">
                  <a:moveTo>
                    <a:pt x="2" y="17"/>
                  </a:move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3"/>
                  </a:lnTo>
                  <a:lnTo>
                    <a:pt x="1" y="9"/>
                  </a:lnTo>
                  <a:lnTo>
                    <a:pt x="1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4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7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296">
              <a:extLst>
                <a:ext uri="{FF2B5EF4-FFF2-40B4-BE49-F238E27FC236}">
                  <a16:creationId xmlns:a16="http://schemas.microsoft.com/office/drawing/2014/main" id="{3E9702A7-69E6-475C-B45B-A242DEB0C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" y="1646"/>
              <a:ext cx="141" cy="94"/>
            </a:xfrm>
            <a:custGeom>
              <a:avLst/>
              <a:gdLst>
                <a:gd name="T0" fmla="*/ 0 w 11"/>
                <a:gd name="T1" fmla="*/ 1 h 8"/>
                <a:gd name="T2" fmla="*/ 0 w 11"/>
                <a:gd name="T3" fmla="*/ 1 h 8"/>
                <a:gd name="T4" fmla="*/ 0 w 11"/>
                <a:gd name="T5" fmla="*/ 1 h 8"/>
                <a:gd name="T6" fmla="*/ 0 w 11"/>
                <a:gd name="T7" fmla="*/ 1 h 8"/>
                <a:gd name="T8" fmla="*/ 0 w 11"/>
                <a:gd name="T9" fmla="*/ 0 h 8"/>
                <a:gd name="T10" fmla="*/ 1 w 11"/>
                <a:gd name="T11" fmla="*/ 0 h 8"/>
                <a:gd name="T12" fmla="*/ 1 w 11"/>
                <a:gd name="T13" fmla="*/ 1 h 8"/>
                <a:gd name="T14" fmla="*/ 1 w 11"/>
                <a:gd name="T15" fmla="*/ 1 h 8"/>
                <a:gd name="T16" fmla="*/ 1 w 11"/>
                <a:gd name="T17" fmla="*/ 1 h 8"/>
                <a:gd name="T18" fmla="*/ 1 w 11"/>
                <a:gd name="T19" fmla="*/ 2 h 8"/>
                <a:gd name="T20" fmla="*/ 1 w 11"/>
                <a:gd name="T21" fmla="*/ 1 h 8"/>
                <a:gd name="T22" fmla="*/ 2 w 11"/>
                <a:gd name="T23" fmla="*/ 2 h 8"/>
                <a:gd name="T24" fmla="*/ 2 w 11"/>
                <a:gd name="T25" fmla="*/ 2 h 8"/>
                <a:gd name="T26" fmla="*/ 2 w 11"/>
                <a:gd name="T27" fmla="*/ 2 h 8"/>
                <a:gd name="T28" fmla="*/ 3 w 11"/>
                <a:gd name="T29" fmla="*/ 3 h 8"/>
                <a:gd name="T30" fmla="*/ 3 w 11"/>
                <a:gd name="T31" fmla="*/ 3 h 8"/>
                <a:gd name="T32" fmla="*/ 5 w 11"/>
                <a:gd name="T33" fmla="*/ 3 h 8"/>
                <a:gd name="T34" fmla="*/ 7 w 11"/>
                <a:gd name="T35" fmla="*/ 5 h 8"/>
                <a:gd name="T36" fmla="*/ 7 w 11"/>
                <a:gd name="T37" fmla="*/ 5 h 8"/>
                <a:gd name="T38" fmla="*/ 8 w 11"/>
                <a:gd name="T39" fmla="*/ 6 h 8"/>
                <a:gd name="T40" fmla="*/ 9 w 11"/>
                <a:gd name="T41" fmla="*/ 7 h 8"/>
                <a:gd name="T42" fmla="*/ 9 w 11"/>
                <a:gd name="T43" fmla="*/ 7 h 8"/>
                <a:gd name="T44" fmla="*/ 9 w 11"/>
                <a:gd name="T45" fmla="*/ 7 h 8"/>
                <a:gd name="T46" fmla="*/ 9 w 11"/>
                <a:gd name="T47" fmla="*/ 7 h 8"/>
                <a:gd name="T48" fmla="*/ 10 w 11"/>
                <a:gd name="T49" fmla="*/ 8 h 8"/>
                <a:gd name="T50" fmla="*/ 9 w 11"/>
                <a:gd name="T51" fmla="*/ 8 h 8"/>
                <a:gd name="T52" fmla="*/ 10 w 11"/>
                <a:gd name="T53" fmla="*/ 8 h 8"/>
                <a:gd name="T54" fmla="*/ 10 w 11"/>
                <a:gd name="T55" fmla="*/ 8 h 8"/>
                <a:gd name="T56" fmla="*/ 10 w 11"/>
                <a:gd name="T57" fmla="*/ 7 h 8"/>
                <a:gd name="T58" fmla="*/ 10 w 11"/>
                <a:gd name="T59" fmla="*/ 7 h 8"/>
                <a:gd name="T60" fmla="*/ 10 w 11"/>
                <a:gd name="T61" fmla="*/ 7 h 8"/>
                <a:gd name="T62" fmla="*/ 11 w 11"/>
                <a:gd name="T63" fmla="*/ 7 h 8"/>
                <a:gd name="T64" fmla="*/ 11 w 11"/>
                <a:gd name="T65" fmla="*/ 7 h 8"/>
                <a:gd name="T66" fmla="*/ 11 w 11"/>
                <a:gd name="T67" fmla="*/ 8 h 8"/>
                <a:gd name="T68" fmla="*/ 11 w 11"/>
                <a:gd name="T69" fmla="*/ 8 h 8"/>
                <a:gd name="T70" fmla="*/ 11 w 11"/>
                <a:gd name="T71" fmla="*/ 8 h 8"/>
                <a:gd name="T72" fmla="*/ 10 w 11"/>
                <a:gd name="T73" fmla="*/ 8 h 8"/>
                <a:gd name="T74" fmla="*/ 10 w 11"/>
                <a:gd name="T75" fmla="*/ 8 h 8"/>
                <a:gd name="T76" fmla="*/ 10 w 11"/>
                <a:gd name="T77" fmla="*/ 8 h 8"/>
                <a:gd name="T78" fmla="*/ 10 w 11"/>
                <a:gd name="T79" fmla="*/ 8 h 8"/>
                <a:gd name="T80" fmla="*/ 10 w 11"/>
                <a:gd name="T81" fmla="*/ 8 h 8"/>
                <a:gd name="T82" fmla="*/ 9 w 11"/>
                <a:gd name="T83" fmla="*/ 8 h 8"/>
                <a:gd name="T84" fmla="*/ 9 w 11"/>
                <a:gd name="T85" fmla="*/ 8 h 8"/>
                <a:gd name="T86" fmla="*/ 9 w 11"/>
                <a:gd name="T87" fmla="*/ 8 h 8"/>
                <a:gd name="T88" fmla="*/ 9 w 11"/>
                <a:gd name="T89" fmla="*/ 8 h 8"/>
                <a:gd name="T90" fmla="*/ 9 w 11"/>
                <a:gd name="T91" fmla="*/ 8 h 8"/>
                <a:gd name="T92" fmla="*/ 8 w 11"/>
                <a:gd name="T93" fmla="*/ 7 h 8"/>
                <a:gd name="T94" fmla="*/ 8 w 11"/>
                <a:gd name="T95" fmla="*/ 7 h 8"/>
                <a:gd name="T96" fmla="*/ 7 w 11"/>
                <a:gd name="T97" fmla="*/ 6 h 8"/>
                <a:gd name="T98" fmla="*/ 7 w 11"/>
                <a:gd name="T99" fmla="*/ 6 h 8"/>
                <a:gd name="T100" fmla="*/ 6 w 11"/>
                <a:gd name="T101" fmla="*/ 6 h 8"/>
                <a:gd name="T102" fmla="*/ 4 w 11"/>
                <a:gd name="T103" fmla="*/ 4 h 8"/>
                <a:gd name="T104" fmla="*/ 4 w 11"/>
                <a:gd name="T105" fmla="*/ 4 h 8"/>
                <a:gd name="T106" fmla="*/ 3 w 11"/>
                <a:gd name="T107" fmla="*/ 3 h 8"/>
                <a:gd name="T108" fmla="*/ 2 w 11"/>
                <a:gd name="T109" fmla="*/ 3 h 8"/>
                <a:gd name="T110" fmla="*/ 2 w 11"/>
                <a:gd name="T111" fmla="*/ 3 h 8"/>
                <a:gd name="T112" fmla="*/ 1 w 11"/>
                <a:gd name="T113" fmla="*/ 2 h 8"/>
                <a:gd name="T114" fmla="*/ 1 w 11"/>
                <a:gd name="T115" fmla="*/ 2 h 8"/>
                <a:gd name="T116" fmla="*/ 1 w 11"/>
                <a:gd name="T117" fmla="*/ 2 h 8"/>
                <a:gd name="T118" fmla="*/ 1 w 11"/>
                <a:gd name="T119" fmla="*/ 2 h 8"/>
                <a:gd name="T120" fmla="*/ 0 w 11"/>
                <a:gd name="T121" fmla="*/ 1 h 8"/>
                <a:gd name="T122" fmla="*/ 0 w 11"/>
                <a:gd name="T123" fmla="*/ 1 h 8"/>
                <a:gd name="T124" fmla="*/ 0 w 11"/>
                <a:gd name="T1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" h="8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7" y="5"/>
                  </a:lnTo>
                  <a:lnTo>
                    <a:pt x="7" y="5"/>
                  </a:lnTo>
                  <a:lnTo>
                    <a:pt x="8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6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297">
              <a:extLst>
                <a:ext uri="{FF2B5EF4-FFF2-40B4-BE49-F238E27FC236}">
                  <a16:creationId xmlns:a16="http://schemas.microsoft.com/office/drawing/2014/main" id="{D0B48AE8-03DB-464F-8C78-DF44B43FB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" y="1669"/>
              <a:ext cx="26" cy="12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0 h 1"/>
                <a:gd name="T4" fmla="*/ 0 w 2"/>
                <a:gd name="T5" fmla="*/ 0 h 1"/>
                <a:gd name="T6" fmla="*/ 0 w 2"/>
                <a:gd name="T7" fmla="*/ 0 h 1"/>
                <a:gd name="T8" fmla="*/ 0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0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0 w 2"/>
                <a:gd name="T3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298">
              <a:extLst>
                <a:ext uri="{FF2B5EF4-FFF2-40B4-BE49-F238E27FC236}">
                  <a16:creationId xmlns:a16="http://schemas.microsoft.com/office/drawing/2014/main" id="{1B433C36-442D-4A2B-945B-6FE559F8F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" y="1976"/>
              <a:ext cx="13" cy="71"/>
            </a:xfrm>
            <a:custGeom>
              <a:avLst/>
              <a:gdLst>
                <a:gd name="T0" fmla="*/ 0 w 1"/>
                <a:gd name="T1" fmla="*/ 1 h 6"/>
                <a:gd name="T2" fmla="*/ 0 w 1"/>
                <a:gd name="T3" fmla="*/ 0 h 6"/>
                <a:gd name="T4" fmla="*/ 0 w 1"/>
                <a:gd name="T5" fmla="*/ 0 h 6"/>
                <a:gd name="T6" fmla="*/ 1 w 1"/>
                <a:gd name="T7" fmla="*/ 0 h 6"/>
                <a:gd name="T8" fmla="*/ 1 w 1"/>
                <a:gd name="T9" fmla="*/ 0 h 6"/>
                <a:gd name="T10" fmla="*/ 1 w 1"/>
                <a:gd name="T11" fmla="*/ 0 h 6"/>
                <a:gd name="T12" fmla="*/ 1 w 1"/>
                <a:gd name="T13" fmla="*/ 0 h 6"/>
                <a:gd name="T14" fmla="*/ 1 w 1"/>
                <a:gd name="T15" fmla="*/ 1 h 6"/>
                <a:gd name="T16" fmla="*/ 1 w 1"/>
                <a:gd name="T17" fmla="*/ 5 h 6"/>
                <a:gd name="T18" fmla="*/ 1 w 1"/>
                <a:gd name="T19" fmla="*/ 5 h 6"/>
                <a:gd name="T20" fmla="*/ 1 w 1"/>
                <a:gd name="T21" fmla="*/ 5 h 6"/>
                <a:gd name="T22" fmla="*/ 1 w 1"/>
                <a:gd name="T23" fmla="*/ 5 h 6"/>
                <a:gd name="T24" fmla="*/ 1 w 1"/>
                <a:gd name="T25" fmla="*/ 6 h 6"/>
                <a:gd name="T26" fmla="*/ 1 w 1"/>
                <a:gd name="T27" fmla="*/ 6 h 6"/>
                <a:gd name="T28" fmla="*/ 1 w 1"/>
                <a:gd name="T29" fmla="*/ 5 h 6"/>
                <a:gd name="T30" fmla="*/ 0 w 1"/>
                <a:gd name="T31" fmla="*/ 5 h 6"/>
                <a:gd name="T32" fmla="*/ 0 w 1"/>
                <a:gd name="T33" fmla="*/ 5 h 6"/>
                <a:gd name="T34" fmla="*/ 0 w 1"/>
                <a:gd name="T35" fmla="*/ 5 h 6"/>
                <a:gd name="T36" fmla="*/ 0 w 1"/>
                <a:gd name="T3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299">
              <a:extLst>
                <a:ext uri="{FF2B5EF4-FFF2-40B4-BE49-F238E27FC236}">
                  <a16:creationId xmlns:a16="http://schemas.microsoft.com/office/drawing/2014/main" id="{08F39395-833D-4469-8E90-7389183FD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" y="1988"/>
              <a:ext cx="25" cy="2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1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2 w 2"/>
                <a:gd name="T15" fmla="*/ 1 h 2"/>
                <a:gd name="T16" fmla="*/ 2 w 2"/>
                <a:gd name="T17" fmla="*/ 1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2 w 2"/>
                <a:gd name="T25" fmla="*/ 2 h 2"/>
                <a:gd name="T26" fmla="*/ 2 w 2"/>
                <a:gd name="T27" fmla="*/ 2 h 2"/>
                <a:gd name="T28" fmla="*/ 2 w 2"/>
                <a:gd name="T29" fmla="*/ 2 h 2"/>
                <a:gd name="T30" fmla="*/ 2 w 2"/>
                <a:gd name="T31" fmla="*/ 2 h 2"/>
                <a:gd name="T32" fmla="*/ 2 w 2"/>
                <a:gd name="T33" fmla="*/ 2 h 2"/>
                <a:gd name="T34" fmla="*/ 2 w 2"/>
                <a:gd name="T35" fmla="*/ 2 h 2"/>
                <a:gd name="T36" fmla="*/ 2 w 2"/>
                <a:gd name="T37" fmla="*/ 2 h 2"/>
                <a:gd name="T38" fmla="*/ 2 w 2"/>
                <a:gd name="T39" fmla="*/ 2 h 2"/>
                <a:gd name="T40" fmla="*/ 2 w 2"/>
                <a:gd name="T41" fmla="*/ 2 h 2"/>
                <a:gd name="T42" fmla="*/ 2 w 2"/>
                <a:gd name="T43" fmla="*/ 2 h 2"/>
                <a:gd name="T44" fmla="*/ 1 w 2"/>
                <a:gd name="T45" fmla="*/ 1 h 2"/>
                <a:gd name="T46" fmla="*/ 0 w 2"/>
                <a:gd name="T4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300">
              <a:extLst>
                <a:ext uri="{FF2B5EF4-FFF2-40B4-BE49-F238E27FC236}">
                  <a16:creationId xmlns:a16="http://schemas.microsoft.com/office/drawing/2014/main" id="{25B8A66A-FF96-432C-B20D-056DC455B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11"/>
              <a:ext cx="13" cy="59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0 h 5"/>
                <a:gd name="T4" fmla="*/ 0 w 1"/>
                <a:gd name="T5" fmla="*/ 0 h 5"/>
                <a:gd name="T6" fmla="*/ 0 w 1"/>
                <a:gd name="T7" fmla="*/ 0 h 5"/>
                <a:gd name="T8" fmla="*/ 0 w 1"/>
                <a:gd name="T9" fmla="*/ 0 h 5"/>
                <a:gd name="T10" fmla="*/ 0 w 1"/>
                <a:gd name="T11" fmla="*/ 0 h 5"/>
                <a:gd name="T12" fmla="*/ 0 w 1"/>
                <a:gd name="T13" fmla="*/ 0 h 5"/>
                <a:gd name="T14" fmla="*/ 0 w 1"/>
                <a:gd name="T15" fmla="*/ 0 h 5"/>
                <a:gd name="T16" fmla="*/ 0 w 1"/>
                <a:gd name="T17" fmla="*/ 0 h 5"/>
                <a:gd name="T18" fmla="*/ 1 w 1"/>
                <a:gd name="T19" fmla="*/ 4 h 5"/>
                <a:gd name="T20" fmla="*/ 1 w 1"/>
                <a:gd name="T21" fmla="*/ 5 h 5"/>
                <a:gd name="T22" fmla="*/ 0 w 1"/>
                <a:gd name="T23" fmla="*/ 5 h 5"/>
                <a:gd name="T24" fmla="*/ 0 w 1"/>
                <a:gd name="T25" fmla="*/ 5 h 5"/>
                <a:gd name="T26" fmla="*/ 0 w 1"/>
                <a:gd name="T27" fmla="*/ 5 h 5"/>
                <a:gd name="T28" fmla="*/ 0 w 1"/>
                <a:gd name="T29" fmla="*/ 5 h 5"/>
                <a:gd name="T30" fmla="*/ 0 w 1"/>
                <a:gd name="T31" fmla="*/ 5 h 5"/>
                <a:gd name="T32" fmla="*/ 0 w 1"/>
                <a:gd name="T33" fmla="*/ 5 h 5"/>
                <a:gd name="T34" fmla="*/ 0 w 1"/>
                <a:gd name="T35" fmla="*/ 5 h 5"/>
                <a:gd name="T36" fmla="*/ 0 w 1"/>
                <a:gd name="T37" fmla="*/ 4 h 5"/>
                <a:gd name="T38" fmla="*/ 0 w 1"/>
                <a:gd name="T39" fmla="*/ 0 h 5"/>
                <a:gd name="T40" fmla="*/ 0 w 1"/>
                <a:gd name="T41" fmla="*/ 0 h 5"/>
                <a:gd name="T42" fmla="*/ 0 w 1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301">
              <a:extLst>
                <a:ext uri="{FF2B5EF4-FFF2-40B4-BE49-F238E27FC236}">
                  <a16:creationId xmlns:a16="http://schemas.microsoft.com/office/drawing/2014/main" id="{8A36D206-0A62-4BAB-B671-9AFDD1148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00"/>
              <a:ext cx="13" cy="1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  <a:gd name="T24" fmla="*/ 1 w 1"/>
                <a:gd name="T25" fmla="*/ 0 h 1"/>
                <a:gd name="T26" fmla="*/ 1 w 1"/>
                <a:gd name="T27" fmla="*/ 0 h 1"/>
                <a:gd name="T28" fmla="*/ 1 w 1"/>
                <a:gd name="T29" fmla="*/ 0 h 1"/>
                <a:gd name="T30" fmla="*/ 1 w 1"/>
                <a:gd name="T31" fmla="*/ 0 h 1"/>
                <a:gd name="T32" fmla="*/ 1 w 1"/>
                <a:gd name="T33" fmla="*/ 0 h 1"/>
                <a:gd name="T34" fmla="*/ 1 w 1"/>
                <a:gd name="T35" fmla="*/ 0 h 1"/>
                <a:gd name="T36" fmla="*/ 0 w 1"/>
                <a:gd name="T3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302">
              <a:extLst>
                <a:ext uri="{FF2B5EF4-FFF2-40B4-BE49-F238E27FC236}">
                  <a16:creationId xmlns:a16="http://schemas.microsoft.com/office/drawing/2014/main" id="{6BB7D6A9-5909-4BD3-BB70-8200777E7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00"/>
              <a:ext cx="77" cy="94"/>
            </a:xfrm>
            <a:custGeom>
              <a:avLst/>
              <a:gdLst>
                <a:gd name="T0" fmla="*/ 1 w 6"/>
                <a:gd name="T1" fmla="*/ 0 h 8"/>
                <a:gd name="T2" fmla="*/ 1 w 6"/>
                <a:gd name="T3" fmla="*/ 0 h 8"/>
                <a:gd name="T4" fmla="*/ 1 w 6"/>
                <a:gd name="T5" fmla="*/ 0 h 8"/>
                <a:gd name="T6" fmla="*/ 1 w 6"/>
                <a:gd name="T7" fmla="*/ 0 h 8"/>
                <a:gd name="T8" fmla="*/ 2 w 6"/>
                <a:gd name="T9" fmla="*/ 1 h 8"/>
                <a:gd name="T10" fmla="*/ 3 w 6"/>
                <a:gd name="T11" fmla="*/ 3 h 8"/>
                <a:gd name="T12" fmla="*/ 4 w 6"/>
                <a:gd name="T13" fmla="*/ 4 h 8"/>
                <a:gd name="T14" fmla="*/ 5 w 6"/>
                <a:gd name="T15" fmla="*/ 5 h 8"/>
                <a:gd name="T16" fmla="*/ 6 w 6"/>
                <a:gd name="T17" fmla="*/ 6 h 8"/>
                <a:gd name="T18" fmla="*/ 6 w 6"/>
                <a:gd name="T19" fmla="*/ 7 h 8"/>
                <a:gd name="T20" fmla="*/ 5 w 6"/>
                <a:gd name="T21" fmla="*/ 8 h 8"/>
                <a:gd name="T22" fmla="*/ 5 w 6"/>
                <a:gd name="T23" fmla="*/ 8 h 8"/>
                <a:gd name="T24" fmla="*/ 5 w 6"/>
                <a:gd name="T25" fmla="*/ 8 h 8"/>
                <a:gd name="T26" fmla="*/ 5 w 6"/>
                <a:gd name="T27" fmla="*/ 8 h 8"/>
                <a:gd name="T28" fmla="*/ 3 w 6"/>
                <a:gd name="T29" fmla="*/ 8 h 8"/>
                <a:gd name="T30" fmla="*/ 2 w 6"/>
                <a:gd name="T31" fmla="*/ 7 h 8"/>
                <a:gd name="T32" fmla="*/ 1 w 6"/>
                <a:gd name="T33" fmla="*/ 7 h 8"/>
                <a:gd name="T34" fmla="*/ 1 w 6"/>
                <a:gd name="T35" fmla="*/ 6 h 8"/>
                <a:gd name="T36" fmla="*/ 0 w 6"/>
                <a:gd name="T37" fmla="*/ 5 h 8"/>
                <a:gd name="T38" fmla="*/ 1 w 6"/>
                <a:gd name="T39" fmla="*/ 4 h 8"/>
                <a:gd name="T40" fmla="*/ 1 w 6"/>
                <a:gd name="T41" fmla="*/ 4 h 8"/>
                <a:gd name="T42" fmla="*/ 1 w 6"/>
                <a:gd name="T43" fmla="*/ 4 h 8"/>
                <a:gd name="T44" fmla="*/ 1 w 6"/>
                <a:gd name="T45" fmla="*/ 4 h 8"/>
                <a:gd name="T46" fmla="*/ 1 w 6"/>
                <a:gd name="T47" fmla="*/ 5 h 8"/>
                <a:gd name="T48" fmla="*/ 1 w 6"/>
                <a:gd name="T49" fmla="*/ 6 h 8"/>
                <a:gd name="T50" fmla="*/ 1 w 6"/>
                <a:gd name="T51" fmla="*/ 6 h 8"/>
                <a:gd name="T52" fmla="*/ 2 w 6"/>
                <a:gd name="T53" fmla="*/ 6 h 8"/>
                <a:gd name="T54" fmla="*/ 5 w 6"/>
                <a:gd name="T55" fmla="*/ 7 h 8"/>
                <a:gd name="T56" fmla="*/ 5 w 6"/>
                <a:gd name="T57" fmla="*/ 7 h 8"/>
                <a:gd name="T58" fmla="*/ 5 w 6"/>
                <a:gd name="T59" fmla="*/ 7 h 8"/>
                <a:gd name="T60" fmla="*/ 5 w 6"/>
                <a:gd name="T61" fmla="*/ 7 h 8"/>
                <a:gd name="T62" fmla="*/ 5 w 6"/>
                <a:gd name="T63" fmla="*/ 6 h 8"/>
                <a:gd name="T64" fmla="*/ 4 w 6"/>
                <a:gd name="T65" fmla="*/ 5 h 8"/>
                <a:gd name="T66" fmla="*/ 3 w 6"/>
                <a:gd name="T67" fmla="*/ 4 h 8"/>
                <a:gd name="T68" fmla="*/ 1 w 6"/>
                <a:gd name="T69" fmla="*/ 2 h 8"/>
                <a:gd name="T70" fmla="*/ 1 w 6"/>
                <a:gd name="T7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" h="8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3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303">
              <a:extLst>
                <a:ext uri="{FF2B5EF4-FFF2-40B4-BE49-F238E27FC236}">
                  <a16:creationId xmlns:a16="http://schemas.microsoft.com/office/drawing/2014/main" id="{61538BFD-F380-4FE9-92BD-DC600ECF9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70"/>
              <a:ext cx="64" cy="24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0 w 5"/>
                <a:gd name="T9" fmla="*/ 0 h 2"/>
                <a:gd name="T10" fmla="*/ 0 w 5"/>
                <a:gd name="T11" fmla="*/ 0 h 2"/>
                <a:gd name="T12" fmla="*/ 1 w 5"/>
                <a:gd name="T13" fmla="*/ 0 h 2"/>
                <a:gd name="T14" fmla="*/ 1 w 5"/>
                <a:gd name="T15" fmla="*/ 0 h 2"/>
                <a:gd name="T16" fmla="*/ 4 w 5"/>
                <a:gd name="T17" fmla="*/ 1 h 2"/>
                <a:gd name="T18" fmla="*/ 5 w 5"/>
                <a:gd name="T19" fmla="*/ 1 h 2"/>
                <a:gd name="T20" fmla="*/ 5 w 5"/>
                <a:gd name="T21" fmla="*/ 1 h 2"/>
                <a:gd name="T22" fmla="*/ 5 w 5"/>
                <a:gd name="T23" fmla="*/ 1 h 2"/>
                <a:gd name="T24" fmla="*/ 5 w 5"/>
                <a:gd name="T25" fmla="*/ 1 h 2"/>
                <a:gd name="T26" fmla="*/ 5 w 5"/>
                <a:gd name="T27" fmla="*/ 1 h 2"/>
                <a:gd name="T28" fmla="*/ 5 w 5"/>
                <a:gd name="T29" fmla="*/ 2 h 2"/>
                <a:gd name="T30" fmla="*/ 5 w 5"/>
                <a:gd name="T31" fmla="*/ 2 h 2"/>
                <a:gd name="T32" fmla="*/ 5 w 5"/>
                <a:gd name="T33" fmla="*/ 2 h 2"/>
                <a:gd name="T34" fmla="*/ 5 w 5"/>
                <a:gd name="T35" fmla="*/ 2 h 2"/>
                <a:gd name="T36" fmla="*/ 5 w 5"/>
                <a:gd name="T37" fmla="*/ 2 h 2"/>
                <a:gd name="T38" fmla="*/ 5 w 5"/>
                <a:gd name="T39" fmla="*/ 2 h 2"/>
                <a:gd name="T40" fmla="*/ 5 w 5"/>
                <a:gd name="T41" fmla="*/ 2 h 2"/>
                <a:gd name="T42" fmla="*/ 5 w 5"/>
                <a:gd name="T43" fmla="*/ 2 h 2"/>
                <a:gd name="T44" fmla="*/ 5 w 5"/>
                <a:gd name="T45" fmla="*/ 2 h 2"/>
                <a:gd name="T46" fmla="*/ 5 w 5"/>
                <a:gd name="T47" fmla="*/ 2 h 2"/>
                <a:gd name="T48" fmla="*/ 5 w 5"/>
                <a:gd name="T49" fmla="*/ 2 h 2"/>
                <a:gd name="T50" fmla="*/ 5 w 5"/>
                <a:gd name="T51" fmla="*/ 1 h 2"/>
                <a:gd name="T52" fmla="*/ 5 w 5"/>
                <a:gd name="T53" fmla="*/ 2 h 2"/>
                <a:gd name="T54" fmla="*/ 4 w 5"/>
                <a:gd name="T55" fmla="*/ 1 h 2"/>
                <a:gd name="T56" fmla="*/ 1 w 5"/>
                <a:gd name="T57" fmla="*/ 0 h 2"/>
                <a:gd name="T58" fmla="*/ 1 w 5"/>
                <a:gd name="T59" fmla="*/ 0 h 2"/>
                <a:gd name="T60" fmla="*/ 1 w 5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304">
              <a:extLst>
                <a:ext uri="{FF2B5EF4-FFF2-40B4-BE49-F238E27FC236}">
                  <a16:creationId xmlns:a16="http://schemas.microsoft.com/office/drawing/2014/main" id="{1EFBC180-8EC7-4615-B9C2-8893DD4B7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2059"/>
              <a:ext cx="26" cy="11"/>
            </a:xfrm>
            <a:custGeom>
              <a:avLst/>
              <a:gdLst>
                <a:gd name="T0" fmla="*/ 2 w 2"/>
                <a:gd name="T1" fmla="*/ 0 h 1"/>
                <a:gd name="T2" fmla="*/ 2 w 2"/>
                <a:gd name="T3" fmla="*/ 0 h 1"/>
                <a:gd name="T4" fmla="*/ 2 w 2"/>
                <a:gd name="T5" fmla="*/ 0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0 h 1"/>
                <a:gd name="T12" fmla="*/ 2 w 2"/>
                <a:gd name="T13" fmla="*/ 0 h 1"/>
                <a:gd name="T14" fmla="*/ 2 w 2"/>
                <a:gd name="T15" fmla="*/ 1 h 1"/>
                <a:gd name="T16" fmla="*/ 2 w 2"/>
                <a:gd name="T17" fmla="*/ 1 h 1"/>
                <a:gd name="T18" fmla="*/ 2 w 2"/>
                <a:gd name="T19" fmla="*/ 1 h 1"/>
                <a:gd name="T20" fmla="*/ 2 w 2"/>
                <a:gd name="T21" fmla="*/ 1 h 1"/>
                <a:gd name="T22" fmla="*/ 2 w 2"/>
                <a:gd name="T23" fmla="*/ 1 h 1"/>
                <a:gd name="T24" fmla="*/ 1 w 2"/>
                <a:gd name="T25" fmla="*/ 1 h 1"/>
                <a:gd name="T26" fmla="*/ 1 w 2"/>
                <a:gd name="T27" fmla="*/ 1 h 1"/>
                <a:gd name="T28" fmla="*/ 1 w 2"/>
                <a:gd name="T29" fmla="*/ 1 h 1"/>
                <a:gd name="T30" fmla="*/ 0 w 2"/>
                <a:gd name="T31" fmla="*/ 1 h 1"/>
                <a:gd name="T32" fmla="*/ 0 w 2"/>
                <a:gd name="T33" fmla="*/ 1 h 1"/>
                <a:gd name="T34" fmla="*/ 0 w 2"/>
                <a:gd name="T35" fmla="*/ 1 h 1"/>
                <a:gd name="T36" fmla="*/ 0 w 2"/>
                <a:gd name="T37" fmla="*/ 1 h 1"/>
                <a:gd name="T38" fmla="*/ 0 w 2"/>
                <a:gd name="T39" fmla="*/ 1 h 1"/>
                <a:gd name="T40" fmla="*/ 0 w 2"/>
                <a:gd name="T41" fmla="*/ 1 h 1"/>
                <a:gd name="T42" fmla="*/ 0 w 2"/>
                <a:gd name="T43" fmla="*/ 1 h 1"/>
                <a:gd name="T44" fmla="*/ 0 w 2"/>
                <a:gd name="T45" fmla="*/ 1 h 1"/>
                <a:gd name="T46" fmla="*/ 0 w 2"/>
                <a:gd name="T47" fmla="*/ 0 h 1"/>
                <a:gd name="T48" fmla="*/ 1 w 2"/>
                <a:gd name="T49" fmla="*/ 0 h 1"/>
                <a:gd name="T50" fmla="*/ 1 w 2"/>
                <a:gd name="T51" fmla="*/ 0 h 1"/>
                <a:gd name="T52" fmla="*/ 2 w 2"/>
                <a:gd name="T5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305">
              <a:extLst>
                <a:ext uri="{FF2B5EF4-FFF2-40B4-BE49-F238E27FC236}">
                  <a16:creationId xmlns:a16="http://schemas.microsoft.com/office/drawing/2014/main" id="{676F739F-CE40-4D42-92B9-CA9D4E8CB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035"/>
              <a:ext cx="51" cy="283"/>
            </a:xfrm>
            <a:custGeom>
              <a:avLst/>
              <a:gdLst>
                <a:gd name="T0" fmla="*/ 3 w 4"/>
                <a:gd name="T1" fmla="*/ 0 h 24"/>
                <a:gd name="T2" fmla="*/ 3 w 4"/>
                <a:gd name="T3" fmla="*/ 0 h 24"/>
                <a:gd name="T4" fmla="*/ 3 w 4"/>
                <a:gd name="T5" fmla="*/ 0 h 24"/>
                <a:gd name="T6" fmla="*/ 3 w 4"/>
                <a:gd name="T7" fmla="*/ 0 h 24"/>
                <a:gd name="T8" fmla="*/ 3 w 4"/>
                <a:gd name="T9" fmla="*/ 0 h 24"/>
                <a:gd name="T10" fmla="*/ 3 w 4"/>
                <a:gd name="T11" fmla="*/ 0 h 24"/>
                <a:gd name="T12" fmla="*/ 3 w 4"/>
                <a:gd name="T13" fmla="*/ 0 h 24"/>
                <a:gd name="T14" fmla="*/ 3 w 4"/>
                <a:gd name="T15" fmla="*/ 0 h 24"/>
                <a:gd name="T16" fmla="*/ 3 w 4"/>
                <a:gd name="T17" fmla="*/ 3 h 24"/>
                <a:gd name="T18" fmla="*/ 3 w 4"/>
                <a:gd name="T19" fmla="*/ 3 h 24"/>
                <a:gd name="T20" fmla="*/ 2 w 4"/>
                <a:gd name="T21" fmla="*/ 7 h 24"/>
                <a:gd name="T22" fmla="*/ 1 w 4"/>
                <a:gd name="T23" fmla="*/ 12 h 24"/>
                <a:gd name="T24" fmla="*/ 1 w 4"/>
                <a:gd name="T25" fmla="*/ 15 h 24"/>
                <a:gd name="T26" fmla="*/ 0 w 4"/>
                <a:gd name="T27" fmla="*/ 18 h 24"/>
                <a:gd name="T28" fmla="*/ 0 w 4"/>
                <a:gd name="T29" fmla="*/ 21 h 24"/>
                <a:gd name="T30" fmla="*/ 0 w 4"/>
                <a:gd name="T31" fmla="*/ 24 h 24"/>
                <a:gd name="T32" fmla="*/ 0 w 4"/>
                <a:gd name="T33" fmla="*/ 23 h 24"/>
                <a:gd name="T34" fmla="*/ 0 w 4"/>
                <a:gd name="T35" fmla="*/ 23 h 24"/>
                <a:gd name="T36" fmla="*/ 0 w 4"/>
                <a:gd name="T37" fmla="*/ 23 h 24"/>
                <a:gd name="T38" fmla="*/ 1 w 4"/>
                <a:gd name="T39" fmla="*/ 23 h 24"/>
                <a:gd name="T40" fmla="*/ 3 w 4"/>
                <a:gd name="T41" fmla="*/ 22 h 24"/>
                <a:gd name="T42" fmla="*/ 2 w 4"/>
                <a:gd name="T43" fmla="*/ 22 h 24"/>
                <a:gd name="T44" fmla="*/ 3 w 4"/>
                <a:gd name="T45" fmla="*/ 21 h 24"/>
                <a:gd name="T46" fmla="*/ 4 w 4"/>
                <a:gd name="T47" fmla="*/ 21 h 24"/>
                <a:gd name="T48" fmla="*/ 4 w 4"/>
                <a:gd name="T49" fmla="*/ 21 h 24"/>
                <a:gd name="T50" fmla="*/ 4 w 4"/>
                <a:gd name="T51" fmla="*/ 21 h 24"/>
                <a:gd name="T52" fmla="*/ 4 w 4"/>
                <a:gd name="T53" fmla="*/ 21 h 24"/>
                <a:gd name="T54" fmla="*/ 4 w 4"/>
                <a:gd name="T55" fmla="*/ 21 h 24"/>
                <a:gd name="T56" fmla="*/ 4 w 4"/>
                <a:gd name="T57" fmla="*/ 21 h 24"/>
                <a:gd name="T58" fmla="*/ 4 w 4"/>
                <a:gd name="T59" fmla="*/ 21 h 24"/>
                <a:gd name="T60" fmla="*/ 4 w 4"/>
                <a:gd name="T61" fmla="*/ 22 h 24"/>
                <a:gd name="T62" fmla="*/ 4 w 4"/>
                <a:gd name="T63" fmla="*/ 22 h 24"/>
                <a:gd name="T64" fmla="*/ 3 w 4"/>
                <a:gd name="T65" fmla="*/ 22 h 24"/>
                <a:gd name="T66" fmla="*/ 1 w 4"/>
                <a:gd name="T67" fmla="*/ 23 h 24"/>
                <a:gd name="T68" fmla="*/ 0 w 4"/>
                <a:gd name="T69" fmla="*/ 24 h 24"/>
                <a:gd name="T70" fmla="*/ 0 w 4"/>
                <a:gd name="T71" fmla="*/ 24 h 24"/>
                <a:gd name="T72" fmla="*/ 0 w 4"/>
                <a:gd name="T73" fmla="*/ 24 h 24"/>
                <a:gd name="T74" fmla="*/ 0 w 4"/>
                <a:gd name="T75" fmla="*/ 24 h 24"/>
                <a:gd name="T76" fmla="*/ 0 w 4"/>
                <a:gd name="T77" fmla="*/ 24 h 24"/>
                <a:gd name="T78" fmla="*/ 0 w 4"/>
                <a:gd name="T79" fmla="*/ 24 h 24"/>
                <a:gd name="T80" fmla="*/ 0 w 4"/>
                <a:gd name="T81" fmla="*/ 24 h 24"/>
                <a:gd name="T82" fmla="*/ 0 w 4"/>
                <a:gd name="T83" fmla="*/ 24 h 24"/>
                <a:gd name="T84" fmla="*/ 0 w 4"/>
                <a:gd name="T85" fmla="*/ 24 h 24"/>
                <a:gd name="T86" fmla="*/ 0 w 4"/>
                <a:gd name="T87" fmla="*/ 21 h 24"/>
                <a:gd name="T88" fmla="*/ 0 w 4"/>
                <a:gd name="T89" fmla="*/ 21 h 24"/>
                <a:gd name="T90" fmla="*/ 0 w 4"/>
                <a:gd name="T91" fmla="*/ 18 h 24"/>
                <a:gd name="T92" fmla="*/ 0 w 4"/>
                <a:gd name="T93" fmla="*/ 15 h 24"/>
                <a:gd name="T94" fmla="*/ 0 w 4"/>
                <a:gd name="T95" fmla="*/ 12 h 24"/>
                <a:gd name="T96" fmla="*/ 1 w 4"/>
                <a:gd name="T97" fmla="*/ 7 h 24"/>
                <a:gd name="T98" fmla="*/ 2 w 4"/>
                <a:gd name="T99" fmla="*/ 3 h 24"/>
                <a:gd name="T100" fmla="*/ 3 w 4"/>
                <a:gd name="T10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" h="24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7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1" y="23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7"/>
                  </a:lnTo>
                  <a:lnTo>
                    <a:pt x="2" y="3"/>
                  </a:lnTo>
                  <a:lnTo>
                    <a:pt x="3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306">
              <a:extLst>
                <a:ext uri="{FF2B5EF4-FFF2-40B4-BE49-F238E27FC236}">
                  <a16:creationId xmlns:a16="http://schemas.microsoft.com/office/drawing/2014/main" id="{06A1D7DA-0DFA-4A44-A3D6-372036AF5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2295"/>
              <a:ext cx="90" cy="47"/>
            </a:xfrm>
            <a:custGeom>
              <a:avLst/>
              <a:gdLst>
                <a:gd name="T0" fmla="*/ 0 w 7"/>
                <a:gd name="T1" fmla="*/ 4 h 4"/>
                <a:gd name="T2" fmla="*/ 0 w 7"/>
                <a:gd name="T3" fmla="*/ 4 h 4"/>
                <a:gd name="T4" fmla="*/ 0 w 7"/>
                <a:gd name="T5" fmla="*/ 4 h 4"/>
                <a:gd name="T6" fmla="*/ 0 w 7"/>
                <a:gd name="T7" fmla="*/ 4 h 4"/>
                <a:gd name="T8" fmla="*/ 0 w 7"/>
                <a:gd name="T9" fmla="*/ 4 h 4"/>
                <a:gd name="T10" fmla="*/ 0 w 7"/>
                <a:gd name="T11" fmla="*/ 4 h 4"/>
                <a:gd name="T12" fmla="*/ 0 w 7"/>
                <a:gd name="T13" fmla="*/ 3 h 4"/>
                <a:gd name="T14" fmla="*/ 0 w 7"/>
                <a:gd name="T15" fmla="*/ 3 h 4"/>
                <a:gd name="T16" fmla="*/ 0 w 7"/>
                <a:gd name="T17" fmla="*/ 3 h 4"/>
                <a:gd name="T18" fmla="*/ 0 w 7"/>
                <a:gd name="T19" fmla="*/ 3 h 4"/>
                <a:gd name="T20" fmla="*/ 2 w 7"/>
                <a:gd name="T21" fmla="*/ 2 h 4"/>
                <a:gd name="T22" fmla="*/ 3 w 7"/>
                <a:gd name="T23" fmla="*/ 2 h 4"/>
                <a:gd name="T24" fmla="*/ 5 w 7"/>
                <a:gd name="T25" fmla="*/ 1 h 4"/>
                <a:gd name="T26" fmla="*/ 5 w 7"/>
                <a:gd name="T27" fmla="*/ 1 h 4"/>
                <a:gd name="T28" fmla="*/ 5 w 7"/>
                <a:gd name="T29" fmla="*/ 1 h 4"/>
                <a:gd name="T30" fmla="*/ 5 w 7"/>
                <a:gd name="T31" fmla="*/ 1 h 4"/>
                <a:gd name="T32" fmla="*/ 6 w 7"/>
                <a:gd name="T33" fmla="*/ 1 h 4"/>
                <a:gd name="T34" fmla="*/ 7 w 7"/>
                <a:gd name="T35" fmla="*/ 0 h 4"/>
                <a:gd name="T36" fmla="*/ 6 w 7"/>
                <a:gd name="T37" fmla="*/ 0 h 4"/>
                <a:gd name="T38" fmla="*/ 7 w 7"/>
                <a:gd name="T39" fmla="*/ 0 h 4"/>
                <a:gd name="T40" fmla="*/ 7 w 7"/>
                <a:gd name="T41" fmla="*/ 0 h 4"/>
                <a:gd name="T42" fmla="*/ 7 w 7"/>
                <a:gd name="T43" fmla="*/ 0 h 4"/>
                <a:gd name="T44" fmla="*/ 7 w 7"/>
                <a:gd name="T45" fmla="*/ 0 h 4"/>
                <a:gd name="T46" fmla="*/ 7 w 7"/>
                <a:gd name="T47" fmla="*/ 0 h 4"/>
                <a:gd name="T48" fmla="*/ 7 w 7"/>
                <a:gd name="T49" fmla="*/ 0 h 4"/>
                <a:gd name="T50" fmla="*/ 7 w 7"/>
                <a:gd name="T51" fmla="*/ 0 h 4"/>
                <a:gd name="T52" fmla="*/ 7 w 7"/>
                <a:gd name="T53" fmla="*/ 0 h 4"/>
                <a:gd name="T54" fmla="*/ 7 w 7"/>
                <a:gd name="T55" fmla="*/ 0 h 4"/>
                <a:gd name="T56" fmla="*/ 7 w 7"/>
                <a:gd name="T57" fmla="*/ 1 h 4"/>
                <a:gd name="T58" fmla="*/ 7 w 7"/>
                <a:gd name="T59" fmla="*/ 1 h 4"/>
                <a:gd name="T60" fmla="*/ 6 w 7"/>
                <a:gd name="T61" fmla="*/ 1 h 4"/>
                <a:gd name="T62" fmla="*/ 6 w 7"/>
                <a:gd name="T63" fmla="*/ 1 h 4"/>
                <a:gd name="T64" fmla="*/ 5 w 7"/>
                <a:gd name="T65" fmla="*/ 2 h 4"/>
                <a:gd name="T66" fmla="*/ 5 w 7"/>
                <a:gd name="T67" fmla="*/ 2 h 4"/>
                <a:gd name="T68" fmla="*/ 5 w 7"/>
                <a:gd name="T69" fmla="*/ 2 h 4"/>
                <a:gd name="T70" fmla="*/ 5 w 7"/>
                <a:gd name="T71" fmla="*/ 2 h 4"/>
                <a:gd name="T72" fmla="*/ 5 w 7"/>
                <a:gd name="T73" fmla="*/ 2 h 4"/>
                <a:gd name="T74" fmla="*/ 4 w 7"/>
                <a:gd name="T75" fmla="*/ 2 h 4"/>
                <a:gd name="T76" fmla="*/ 4 w 7"/>
                <a:gd name="T77" fmla="*/ 2 h 4"/>
                <a:gd name="T78" fmla="*/ 2 w 7"/>
                <a:gd name="T79" fmla="*/ 3 h 4"/>
                <a:gd name="T80" fmla="*/ 0 w 7"/>
                <a:gd name="T8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4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307">
              <a:extLst>
                <a:ext uri="{FF2B5EF4-FFF2-40B4-BE49-F238E27FC236}">
                  <a16:creationId xmlns:a16="http://schemas.microsoft.com/office/drawing/2014/main" id="{3A972EEE-A1BE-4972-82B7-83B72F255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330"/>
              <a:ext cx="51" cy="248"/>
            </a:xfrm>
            <a:custGeom>
              <a:avLst/>
              <a:gdLst>
                <a:gd name="T0" fmla="*/ 4 w 4"/>
                <a:gd name="T1" fmla="*/ 0 h 21"/>
                <a:gd name="T2" fmla="*/ 4 w 4"/>
                <a:gd name="T3" fmla="*/ 0 h 21"/>
                <a:gd name="T4" fmla="*/ 4 w 4"/>
                <a:gd name="T5" fmla="*/ 0 h 21"/>
                <a:gd name="T6" fmla="*/ 4 w 4"/>
                <a:gd name="T7" fmla="*/ 0 h 21"/>
                <a:gd name="T8" fmla="*/ 4 w 4"/>
                <a:gd name="T9" fmla="*/ 0 h 21"/>
                <a:gd name="T10" fmla="*/ 4 w 4"/>
                <a:gd name="T11" fmla="*/ 0 h 21"/>
                <a:gd name="T12" fmla="*/ 4 w 4"/>
                <a:gd name="T13" fmla="*/ 0 h 21"/>
                <a:gd name="T14" fmla="*/ 4 w 4"/>
                <a:gd name="T15" fmla="*/ 0 h 21"/>
                <a:gd name="T16" fmla="*/ 4 w 4"/>
                <a:gd name="T17" fmla="*/ 0 h 21"/>
                <a:gd name="T18" fmla="*/ 4 w 4"/>
                <a:gd name="T19" fmla="*/ 0 h 21"/>
                <a:gd name="T20" fmla="*/ 3 w 4"/>
                <a:gd name="T21" fmla="*/ 1 h 21"/>
                <a:gd name="T22" fmla="*/ 1 w 4"/>
                <a:gd name="T23" fmla="*/ 1 h 21"/>
                <a:gd name="T24" fmla="*/ 0 w 4"/>
                <a:gd name="T25" fmla="*/ 2 h 21"/>
                <a:gd name="T26" fmla="*/ 0 w 4"/>
                <a:gd name="T27" fmla="*/ 2 h 21"/>
                <a:gd name="T28" fmla="*/ 0 w 4"/>
                <a:gd name="T29" fmla="*/ 2 h 21"/>
                <a:gd name="T30" fmla="*/ 0 w 4"/>
                <a:gd name="T31" fmla="*/ 2 h 21"/>
                <a:gd name="T32" fmla="*/ 0 w 4"/>
                <a:gd name="T33" fmla="*/ 4 h 21"/>
                <a:gd name="T34" fmla="*/ 0 w 4"/>
                <a:gd name="T35" fmla="*/ 9 h 21"/>
                <a:gd name="T36" fmla="*/ 0 w 4"/>
                <a:gd name="T37" fmla="*/ 12 h 21"/>
                <a:gd name="T38" fmla="*/ 0 w 4"/>
                <a:gd name="T39" fmla="*/ 12 h 21"/>
                <a:gd name="T40" fmla="*/ 1 w 4"/>
                <a:gd name="T41" fmla="*/ 16 h 21"/>
                <a:gd name="T42" fmla="*/ 1 w 4"/>
                <a:gd name="T43" fmla="*/ 17 h 21"/>
                <a:gd name="T44" fmla="*/ 1 w 4"/>
                <a:gd name="T45" fmla="*/ 18 h 21"/>
                <a:gd name="T46" fmla="*/ 1 w 4"/>
                <a:gd name="T47" fmla="*/ 19 h 21"/>
                <a:gd name="T48" fmla="*/ 1 w 4"/>
                <a:gd name="T49" fmla="*/ 19 h 21"/>
                <a:gd name="T50" fmla="*/ 2 w 4"/>
                <a:gd name="T51" fmla="*/ 20 h 21"/>
                <a:gd name="T52" fmla="*/ 1 w 4"/>
                <a:gd name="T53" fmla="*/ 20 h 21"/>
                <a:gd name="T54" fmla="*/ 2 w 4"/>
                <a:gd name="T55" fmla="*/ 20 h 21"/>
                <a:gd name="T56" fmla="*/ 2 w 4"/>
                <a:gd name="T57" fmla="*/ 20 h 21"/>
                <a:gd name="T58" fmla="*/ 3 w 4"/>
                <a:gd name="T59" fmla="*/ 20 h 21"/>
                <a:gd name="T60" fmla="*/ 3 w 4"/>
                <a:gd name="T61" fmla="*/ 20 h 21"/>
                <a:gd name="T62" fmla="*/ 3 w 4"/>
                <a:gd name="T63" fmla="*/ 20 h 21"/>
                <a:gd name="T64" fmla="*/ 3 w 4"/>
                <a:gd name="T65" fmla="*/ 20 h 21"/>
                <a:gd name="T66" fmla="*/ 4 w 4"/>
                <a:gd name="T67" fmla="*/ 20 h 21"/>
                <a:gd name="T68" fmla="*/ 3 w 4"/>
                <a:gd name="T69" fmla="*/ 20 h 21"/>
                <a:gd name="T70" fmla="*/ 3 w 4"/>
                <a:gd name="T71" fmla="*/ 20 h 21"/>
                <a:gd name="T72" fmla="*/ 3 w 4"/>
                <a:gd name="T73" fmla="*/ 20 h 21"/>
                <a:gd name="T74" fmla="*/ 3 w 4"/>
                <a:gd name="T75" fmla="*/ 20 h 21"/>
                <a:gd name="T76" fmla="*/ 3 w 4"/>
                <a:gd name="T77" fmla="*/ 20 h 21"/>
                <a:gd name="T78" fmla="*/ 3 w 4"/>
                <a:gd name="T79" fmla="*/ 21 h 21"/>
                <a:gd name="T80" fmla="*/ 2 w 4"/>
                <a:gd name="T81" fmla="*/ 21 h 21"/>
                <a:gd name="T82" fmla="*/ 2 w 4"/>
                <a:gd name="T83" fmla="*/ 21 h 21"/>
                <a:gd name="T84" fmla="*/ 2 w 4"/>
                <a:gd name="T85" fmla="*/ 20 h 21"/>
                <a:gd name="T86" fmla="*/ 2 w 4"/>
                <a:gd name="T87" fmla="*/ 20 h 21"/>
                <a:gd name="T88" fmla="*/ 1 w 4"/>
                <a:gd name="T89" fmla="*/ 20 h 21"/>
                <a:gd name="T90" fmla="*/ 1 w 4"/>
                <a:gd name="T91" fmla="*/ 20 h 21"/>
                <a:gd name="T92" fmla="*/ 1 w 4"/>
                <a:gd name="T93" fmla="*/ 20 h 21"/>
                <a:gd name="T94" fmla="*/ 0 w 4"/>
                <a:gd name="T95" fmla="*/ 19 h 21"/>
                <a:gd name="T96" fmla="*/ 0 w 4"/>
                <a:gd name="T97" fmla="*/ 18 h 21"/>
                <a:gd name="T98" fmla="*/ 0 w 4"/>
                <a:gd name="T99" fmla="*/ 18 h 21"/>
                <a:gd name="T100" fmla="*/ 0 w 4"/>
                <a:gd name="T101" fmla="*/ 17 h 21"/>
                <a:gd name="T102" fmla="*/ 0 w 4"/>
                <a:gd name="T103" fmla="*/ 16 h 21"/>
                <a:gd name="T104" fmla="*/ 0 w 4"/>
                <a:gd name="T105" fmla="*/ 12 h 21"/>
                <a:gd name="T106" fmla="*/ 0 w 4"/>
                <a:gd name="T107" fmla="*/ 9 h 21"/>
                <a:gd name="T108" fmla="*/ 0 w 4"/>
                <a:gd name="T109" fmla="*/ 4 h 21"/>
                <a:gd name="T110" fmla="*/ 0 w 4"/>
                <a:gd name="T111" fmla="*/ 2 h 21"/>
                <a:gd name="T112" fmla="*/ 0 w 4"/>
                <a:gd name="T113" fmla="*/ 1 h 21"/>
                <a:gd name="T114" fmla="*/ 0 w 4"/>
                <a:gd name="T115" fmla="*/ 1 h 21"/>
                <a:gd name="T116" fmla="*/ 0 w 4"/>
                <a:gd name="T117" fmla="*/ 1 h 21"/>
                <a:gd name="T118" fmla="*/ 1 w 4"/>
                <a:gd name="T119" fmla="*/ 1 h 21"/>
                <a:gd name="T120" fmla="*/ 3 w 4"/>
                <a:gd name="T121" fmla="*/ 0 h 21"/>
                <a:gd name="T122" fmla="*/ 4 w 4"/>
                <a:gd name="T12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" h="21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9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4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308">
              <a:extLst>
                <a:ext uri="{FF2B5EF4-FFF2-40B4-BE49-F238E27FC236}">
                  <a16:creationId xmlns:a16="http://schemas.microsoft.com/office/drawing/2014/main" id="{75EA0369-A4BC-492C-A4C5-AC958C78D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507"/>
              <a:ext cx="51" cy="24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2 h 2"/>
                <a:gd name="T4" fmla="*/ 0 w 4"/>
                <a:gd name="T5" fmla="*/ 2 h 2"/>
                <a:gd name="T6" fmla="*/ 0 w 4"/>
                <a:gd name="T7" fmla="*/ 2 h 2"/>
                <a:gd name="T8" fmla="*/ 0 w 4"/>
                <a:gd name="T9" fmla="*/ 2 h 2"/>
                <a:gd name="T10" fmla="*/ 0 w 4"/>
                <a:gd name="T11" fmla="*/ 1 h 2"/>
                <a:gd name="T12" fmla="*/ 0 w 4"/>
                <a:gd name="T13" fmla="*/ 1 h 2"/>
                <a:gd name="T14" fmla="*/ 0 w 4"/>
                <a:gd name="T15" fmla="*/ 1 h 2"/>
                <a:gd name="T16" fmla="*/ 1 w 4"/>
                <a:gd name="T17" fmla="*/ 1 h 2"/>
                <a:gd name="T18" fmla="*/ 1 w 4"/>
                <a:gd name="T19" fmla="*/ 1 h 2"/>
                <a:gd name="T20" fmla="*/ 3 w 4"/>
                <a:gd name="T21" fmla="*/ 0 h 2"/>
                <a:gd name="T22" fmla="*/ 3 w 4"/>
                <a:gd name="T23" fmla="*/ 0 h 2"/>
                <a:gd name="T24" fmla="*/ 4 w 4"/>
                <a:gd name="T25" fmla="*/ 0 h 2"/>
                <a:gd name="T26" fmla="*/ 4 w 4"/>
                <a:gd name="T27" fmla="*/ 0 h 2"/>
                <a:gd name="T28" fmla="*/ 4 w 4"/>
                <a:gd name="T29" fmla="*/ 0 h 2"/>
                <a:gd name="T30" fmla="*/ 4 w 4"/>
                <a:gd name="T31" fmla="*/ 0 h 2"/>
                <a:gd name="T32" fmla="*/ 4 w 4"/>
                <a:gd name="T33" fmla="*/ 0 h 2"/>
                <a:gd name="T34" fmla="*/ 4 w 4"/>
                <a:gd name="T35" fmla="*/ 1 h 2"/>
                <a:gd name="T36" fmla="*/ 3 w 4"/>
                <a:gd name="T37" fmla="*/ 1 h 2"/>
                <a:gd name="T38" fmla="*/ 1 w 4"/>
                <a:gd name="T39" fmla="*/ 2 h 2"/>
                <a:gd name="T40" fmla="*/ 1 w 4"/>
                <a:gd name="T41" fmla="*/ 2 h 2"/>
                <a:gd name="T42" fmla="*/ 1 w 4"/>
                <a:gd name="T43" fmla="*/ 2 h 2"/>
                <a:gd name="T44" fmla="*/ 0 w 4"/>
                <a:gd name="T4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309">
              <a:extLst>
                <a:ext uri="{FF2B5EF4-FFF2-40B4-BE49-F238E27FC236}">
                  <a16:creationId xmlns:a16="http://schemas.microsoft.com/office/drawing/2014/main" id="{FC6F06D3-FA06-415B-B34C-9BBFD1ABF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519"/>
              <a:ext cx="51" cy="23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2 h 2"/>
                <a:gd name="T4" fmla="*/ 0 w 4"/>
                <a:gd name="T5" fmla="*/ 2 h 2"/>
                <a:gd name="T6" fmla="*/ 0 w 4"/>
                <a:gd name="T7" fmla="*/ 2 h 2"/>
                <a:gd name="T8" fmla="*/ 0 w 4"/>
                <a:gd name="T9" fmla="*/ 1 h 2"/>
                <a:gd name="T10" fmla="*/ 0 w 4"/>
                <a:gd name="T11" fmla="*/ 1 h 2"/>
                <a:gd name="T12" fmla="*/ 0 w 4"/>
                <a:gd name="T13" fmla="*/ 1 h 2"/>
                <a:gd name="T14" fmla="*/ 0 w 4"/>
                <a:gd name="T15" fmla="*/ 1 h 2"/>
                <a:gd name="T16" fmla="*/ 0 w 4"/>
                <a:gd name="T17" fmla="*/ 1 h 2"/>
                <a:gd name="T18" fmla="*/ 0 w 4"/>
                <a:gd name="T19" fmla="*/ 1 h 2"/>
                <a:gd name="T20" fmla="*/ 1 w 4"/>
                <a:gd name="T21" fmla="*/ 1 h 2"/>
                <a:gd name="T22" fmla="*/ 1 w 4"/>
                <a:gd name="T23" fmla="*/ 1 h 2"/>
                <a:gd name="T24" fmla="*/ 2 w 4"/>
                <a:gd name="T25" fmla="*/ 0 h 2"/>
                <a:gd name="T26" fmla="*/ 3 w 4"/>
                <a:gd name="T27" fmla="*/ 0 h 2"/>
                <a:gd name="T28" fmla="*/ 3 w 4"/>
                <a:gd name="T29" fmla="*/ 0 h 2"/>
                <a:gd name="T30" fmla="*/ 4 w 4"/>
                <a:gd name="T31" fmla="*/ 0 h 2"/>
                <a:gd name="T32" fmla="*/ 4 w 4"/>
                <a:gd name="T33" fmla="*/ 0 h 2"/>
                <a:gd name="T34" fmla="*/ 4 w 4"/>
                <a:gd name="T35" fmla="*/ 0 h 2"/>
                <a:gd name="T36" fmla="*/ 4 w 4"/>
                <a:gd name="T37" fmla="*/ 0 h 2"/>
                <a:gd name="T38" fmla="*/ 4 w 4"/>
                <a:gd name="T39" fmla="*/ 0 h 2"/>
                <a:gd name="T40" fmla="*/ 4 w 4"/>
                <a:gd name="T41" fmla="*/ 0 h 2"/>
                <a:gd name="T42" fmla="*/ 4 w 4"/>
                <a:gd name="T43" fmla="*/ 0 h 2"/>
                <a:gd name="T44" fmla="*/ 4 w 4"/>
                <a:gd name="T45" fmla="*/ 0 h 2"/>
                <a:gd name="T46" fmla="*/ 3 w 4"/>
                <a:gd name="T47" fmla="*/ 0 h 2"/>
                <a:gd name="T48" fmla="*/ 2 w 4"/>
                <a:gd name="T49" fmla="*/ 1 h 2"/>
                <a:gd name="T50" fmla="*/ 2 w 4"/>
                <a:gd name="T51" fmla="*/ 1 h 2"/>
                <a:gd name="T52" fmla="*/ 1 w 4"/>
                <a:gd name="T53" fmla="*/ 1 h 2"/>
                <a:gd name="T54" fmla="*/ 1 w 4"/>
                <a:gd name="T55" fmla="*/ 1 h 2"/>
                <a:gd name="T56" fmla="*/ 1 w 4"/>
                <a:gd name="T57" fmla="*/ 2 h 2"/>
                <a:gd name="T58" fmla="*/ 0 w 4"/>
                <a:gd name="T5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310">
              <a:extLst>
                <a:ext uri="{FF2B5EF4-FFF2-40B4-BE49-F238E27FC236}">
                  <a16:creationId xmlns:a16="http://schemas.microsoft.com/office/drawing/2014/main" id="{77215CE1-E25F-4765-B163-10C4D6646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" y="2070"/>
              <a:ext cx="13" cy="520"/>
            </a:xfrm>
            <a:custGeom>
              <a:avLst/>
              <a:gdLst>
                <a:gd name="T0" fmla="*/ 0 w 1"/>
                <a:gd name="T1" fmla="*/ 0 h 44"/>
                <a:gd name="T2" fmla="*/ 0 w 1"/>
                <a:gd name="T3" fmla="*/ 0 h 44"/>
                <a:gd name="T4" fmla="*/ 1 w 1"/>
                <a:gd name="T5" fmla="*/ 0 h 44"/>
                <a:gd name="T6" fmla="*/ 1 w 1"/>
                <a:gd name="T7" fmla="*/ 0 h 44"/>
                <a:gd name="T8" fmla="*/ 1 w 1"/>
                <a:gd name="T9" fmla="*/ 0 h 44"/>
                <a:gd name="T10" fmla="*/ 1 w 1"/>
                <a:gd name="T11" fmla="*/ 0 h 44"/>
                <a:gd name="T12" fmla="*/ 1 w 1"/>
                <a:gd name="T13" fmla="*/ 0 h 44"/>
                <a:gd name="T14" fmla="*/ 1 w 1"/>
                <a:gd name="T15" fmla="*/ 0 h 44"/>
                <a:gd name="T16" fmla="*/ 1 w 1"/>
                <a:gd name="T17" fmla="*/ 7 h 44"/>
                <a:gd name="T18" fmla="*/ 1 w 1"/>
                <a:gd name="T19" fmla="*/ 16 h 44"/>
                <a:gd name="T20" fmla="*/ 1 w 1"/>
                <a:gd name="T21" fmla="*/ 30 h 44"/>
                <a:gd name="T22" fmla="*/ 1 w 1"/>
                <a:gd name="T23" fmla="*/ 36 h 44"/>
                <a:gd name="T24" fmla="*/ 1 w 1"/>
                <a:gd name="T25" fmla="*/ 40 h 44"/>
                <a:gd name="T26" fmla="*/ 1 w 1"/>
                <a:gd name="T27" fmla="*/ 42 h 44"/>
                <a:gd name="T28" fmla="*/ 1 w 1"/>
                <a:gd name="T29" fmla="*/ 44 h 44"/>
                <a:gd name="T30" fmla="*/ 0 w 1"/>
                <a:gd name="T31" fmla="*/ 44 h 44"/>
                <a:gd name="T32" fmla="*/ 0 w 1"/>
                <a:gd name="T33" fmla="*/ 44 h 44"/>
                <a:gd name="T34" fmla="*/ 0 w 1"/>
                <a:gd name="T35" fmla="*/ 44 h 44"/>
                <a:gd name="T36" fmla="*/ 0 w 1"/>
                <a:gd name="T37" fmla="*/ 44 h 44"/>
                <a:gd name="T38" fmla="*/ 0 w 1"/>
                <a:gd name="T39" fmla="*/ 44 h 44"/>
                <a:gd name="T40" fmla="*/ 0 w 1"/>
                <a:gd name="T41" fmla="*/ 44 h 44"/>
                <a:gd name="T42" fmla="*/ 0 w 1"/>
                <a:gd name="T43" fmla="*/ 44 h 44"/>
                <a:gd name="T44" fmla="*/ 0 w 1"/>
                <a:gd name="T45" fmla="*/ 44 h 44"/>
                <a:gd name="T46" fmla="*/ 0 w 1"/>
                <a:gd name="T47" fmla="*/ 44 h 44"/>
                <a:gd name="T48" fmla="*/ 0 w 1"/>
                <a:gd name="T49" fmla="*/ 44 h 44"/>
                <a:gd name="T50" fmla="*/ 0 w 1"/>
                <a:gd name="T51" fmla="*/ 44 h 44"/>
                <a:gd name="T52" fmla="*/ 0 w 1"/>
                <a:gd name="T53" fmla="*/ 42 h 44"/>
                <a:gd name="T54" fmla="*/ 0 w 1"/>
                <a:gd name="T55" fmla="*/ 42 h 44"/>
                <a:gd name="T56" fmla="*/ 0 w 1"/>
                <a:gd name="T57" fmla="*/ 40 h 44"/>
                <a:gd name="T58" fmla="*/ 0 w 1"/>
                <a:gd name="T59" fmla="*/ 40 h 44"/>
                <a:gd name="T60" fmla="*/ 0 w 1"/>
                <a:gd name="T61" fmla="*/ 36 h 44"/>
                <a:gd name="T62" fmla="*/ 0 w 1"/>
                <a:gd name="T63" fmla="*/ 30 h 44"/>
                <a:gd name="T64" fmla="*/ 0 w 1"/>
                <a:gd name="T65" fmla="*/ 30 h 44"/>
                <a:gd name="T66" fmla="*/ 0 w 1"/>
                <a:gd name="T67" fmla="*/ 16 h 44"/>
                <a:gd name="T68" fmla="*/ 0 w 1"/>
                <a:gd name="T69" fmla="*/ 7 h 44"/>
                <a:gd name="T70" fmla="*/ 0 w 1"/>
                <a:gd name="T7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" h="44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7"/>
                  </a:lnTo>
                  <a:lnTo>
                    <a:pt x="1" y="16"/>
                  </a:lnTo>
                  <a:lnTo>
                    <a:pt x="1" y="30"/>
                  </a:lnTo>
                  <a:lnTo>
                    <a:pt x="1" y="36"/>
                  </a:lnTo>
                  <a:lnTo>
                    <a:pt x="1" y="40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16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311">
              <a:extLst>
                <a:ext uri="{FF2B5EF4-FFF2-40B4-BE49-F238E27FC236}">
                  <a16:creationId xmlns:a16="http://schemas.microsoft.com/office/drawing/2014/main" id="{126E393D-C345-4260-BDEC-FD4DD9562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" y="2011"/>
              <a:ext cx="90" cy="579"/>
            </a:xfrm>
            <a:custGeom>
              <a:avLst/>
              <a:gdLst>
                <a:gd name="T0" fmla="*/ 4 w 7"/>
                <a:gd name="T1" fmla="*/ 0 h 49"/>
                <a:gd name="T2" fmla="*/ 4 w 7"/>
                <a:gd name="T3" fmla="*/ 0 h 49"/>
                <a:gd name="T4" fmla="*/ 4 w 7"/>
                <a:gd name="T5" fmla="*/ 0 h 49"/>
                <a:gd name="T6" fmla="*/ 4 w 7"/>
                <a:gd name="T7" fmla="*/ 0 h 49"/>
                <a:gd name="T8" fmla="*/ 3 w 7"/>
                <a:gd name="T9" fmla="*/ 6 h 49"/>
                <a:gd name="T10" fmla="*/ 2 w 7"/>
                <a:gd name="T11" fmla="*/ 9 h 49"/>
                <a:gd name="T12" fmla="*/ 1 w 7"/>
                <a:gd name="T13" fmla="*/ 16 h 49"/>
                <a:gd name="T14" fmla="*/ 0 w 7"/>
                <a:gd name="T15" fmla="*/ 23 h 49"/>
                <a:gd name="T16" fmla="*/ 0 w 7"/>
                <a:gd name="T17" fmla="*/ 32 h 49"/>
                <a:gd name="T18" fmla="*/ 1 w 7"/>
                <a:gd name="T19" fmla="*/ 39 h 49"/>
                <a:gd name="T20" fmla="*/ 1 w 7"/>
                <a:gd name="T21" fmla="*/ 46 h 49"/>
                <a:gd name="T22" fmla="*/ 2 w 7"/>
                <a:gd name="T23" fmla="*/ 48 h 49"/>
                <a:gd name="T24" fmla="*/ 2 w 7"/>
                <a:gd name="T25" fmla="*/ 48 h 49"/>
                <a:gd name="T26" fmla="*/ 3 w 7"/>
                <a:gd name="T27" fmla="*/ 49 h 49"/>
                <a:gd name="T28" fmla="*/ 4 w 7"/>
                <a:gd name="T29" fmla="*/ 48 h 49"/>
                <a:gd name="T30" fmla="*/ 6 w 7"/>
                <a:gd name="T31" fmla="*/ 48 h 49"/>
                <a:gd name="T32" fmla="*/ 6 w 7"/>
                <a:gd name="T33" fmla="*/ 48 h 49"/>
                <a:gd name="T34" fmla="*/ 7 w 7"/>
                <a:gd name="T35" fmla="*/ 47 h 49"/>
                <a:gd name="T36" fmla="*/ 7 w 7"/>
                <a:gd name="T37" fmla="*/ 47 h 49"/>
                <a:gd name="T38" fmla="*/ 7 w 7"/>
                <a:gd name="T39" fmla="*/ 48 h 49"/>
                <a:gd name="T40" fmla="*/ 7 w 7"/>
                <a:gd name="T41" fmla="*/ 48 h 49"/>
                <a:gd name="T42" fmla="*/ 7 w 7"/>
                <a:gd name="T43" fmla="*/ 48 h 49"/>
                <a:gd name="T44" fmla="*/ 6 w 7"/>
                <a:gd name="T45" fmla="*/ 49 h 49"/>
                <a:gd name="T46" fmla="*/ 6 w 7"/>
                <a:gd name="T47" fmla="*/ 49 h 49"/>
                <a:gd name="T48" fmla="*/ 3 w 7"/>
                <a:gd name="T49" fmla="*/ 49 h 49"/>
                <a:gd name="T50" fmla="*/ 3 w 7"/>
                <a:gd name="T51" fmla="*/ 49 h 49"/>
                <a:gd name="T52" fmla="*/ 2 w 7"/>
                <a:gd name="T53" fmla="*/ 48 h 49"/>
                <a:gd name="T54" fmla="*/ 1 w 7"/>
                <a:gd name="T55" fmla="*/ 48 h 49"/>
                <a:gd name="T56" fmla="*/ 1 w 7"/>
                <a:gd name="T57" fmla="*/ 46 h 49"/>
                <a:gd name="T58" fmla="*/ 0 w 7"/>
                <a:gd name="T59" fmla="*/ 40 h 49"/>
                <a:gd name="T60" fmla="*/ 0 w 7"/>
                <a:gd name="T61" fmla="*/ 32 h 49"/>
                <a:gd name="T62" fmla="*/ 0 w 7"/>
                <a:gd name="T63" fmla="*/ 19 h 49"/>
                <a:gd name="T64" fmla="*/ 1 w 7"/>
                <a:gd name="T65" fmla="*/ 12 h 49"/>
                <a:gd name="T66" fmla="*/ 2 w 7"/>
                <a:gd name="T67" fmla="*/ 5 h 49"/>
                <a:gd name="T68" fmla="*/ 3 w 7"/>
                <a:gd name="T69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" h="49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9"/>
                  </a:lnTo>
                  <a:lnTo>
                    <a:pt x="1" y="12"/>
                  </a:lnTo>
                  <a:lnTo>
                    <a:pt x="1" y="16"/>
                  </a:lnTo>
                  <a:lnTo>
                    <a:pt x="1" y="19"/>
                  </a:lnTo>
                  <a:lnTo>
                    <a:pt x="0" y="2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6"/>
                  </a:lnTo>
                  <a:lnTo>
                    <a:pt x="1" y="39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3" y="49"/>
                  </a:lnTo>
                  <a:lnTo>
                    <a:pt x="3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4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1" y="12"/>
                  </a:lnTo>
                  <a:lnTo>
                    <a:pt x="1" y="9"/>
                  </a:lnTo>
                  <a:lnTo>
                    <a:pt x="2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2328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Line 312">
              <a:extLst>
                <a:ext uri="{FF2B5EF4-FFF2-40B4-BE49-F238E27FC236}">
                  <a16:creationId xmlns:a16="http://schemas.microsoft.com/office/drawing/2014/main" id="{5C7B3401-8C25-49A3-A733-2C726E2815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98" y="1563"/>
              <a:ext cx="1" cy="1334"/>
            </a:xfrm>
            <a:prstGeom prst="line">
              <a:avLst/>
            </a:prstGeom>
            <a:noFill/>
            <a:ln w="0">
              <a:solidFill>
                <a:srgbClr val="2328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Line 313">
              <a:extLst>
                <a:ext uri="{FF2B5EF4-FFF2-40B4-BE49-F238E27FC236}">
                  <a16:creationId xmlns:a16="http://schemas.microsoft.com/office/drawing/2014/main" id="{C4F59814-BC32-4926-BD51-F8042753BE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13" y="2236"/>
              <a:ext cx="167" cy="70"/>
            </a:xfrm>
            <a:prstGeom prst="line">
              <a:avLst/>
            </a:prstGeom>
            <a:noFill/>
            <a:ln w="0">
              <a:solidFill>
                <a:srgbClr val="23282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pic>
          <p:nvPicPr>
            <p:cNvPr id="109" name="Picture 314">
              <a:extLst>
                <a:ext uri="{FF2B5EF4-FFF2-40B4-BE49-F238E27FC236}">
                  <a16:creationId xmlns:a16="http://schemas.microsoft.com/office/drawing/2014/main" id="{73AEFACE-8E3A-4636-AAE6-85D2FFEF2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9" y="1376"/>
              <a:ext cx="703" cy="2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" name="Rectangle 315">
              <a:extLst>
                <a:ext uri="{FF2B5EF4-FFF2-40B4-BE49-F238E27FC236}">
                  <a16:creationId xmlns:a16="http://schemas.microsoft.com/office/drawing/2014/main" id="{5F5C5EAD-44D9-4AAB-85F2-51BB20912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2" y="1223"/>
              <a:ext cx="1228" cy="177"/>
            </a:xfrm>
            <a:prstGeom prst="rect">
              <a:avLst/>
            </a:prstGeom>
            <a:solidFill>
              <a:srgbClr val="979DA4"/>
            </a:solidFill>
            <a:ln w="0">
              <a:solidFill>
                <a:srgbClr val="25221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2" name="Content Placeholder 1">
            <a:extLst>
              <a:ext uri="{FF2B5EF4-FFF2-40B4-BE49-F238E27FC236}">
                <a16:creationId xmlns:a16="http://schemas.microsoft.com/office/drawing/2014/main" id="{99433F24-878A-42D1-BA22-3C3540DA45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en-US" dirty="0"/>
              <a:t>F4 Class 40/64 km/h, 40% overlap </a:t>
            </a:r>
          </a:p>
        </p:txBody>
      </p:sp>
    </p:spTree>
    <p:extLst>
      <p:ext uri="{BB962C8B-B14F-4D97-AF65-F5344CB8AC3E}">
        <p14:creationId xmlns:p14="http://schemas.microsoft.com/office/powerpoint/2010/main" val="379995678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CD219D-FDD2-4361-A34F-938C8E1EB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5 Class</a:t>
            </a:r>
            <a:br>
              <a:rPr lang="en-US" dirty="0"/>
            </a:br>
            <a:r>
              <a:rPr lang="en-US" dirty="0"/>
              <a:t>Angular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24A6D4-1BB9-46E5-8430-580CC016A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07B3F9-3E56-405C-98A1-14F8FB94B7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C8D698-CFB1-48F0-BFC2-0E82537E6A7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48E86337-7A53-40AC-A183-17F389D4EB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r="31384"/>
          <a:stretch/>
        </p:blipFill>
        <p:spPr bwMode="auto">
          <a:xfrm>
            <a:off x="5936477" y="1447952"/>
            <a:ext cx="2834640" cy="2144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343FA930-8B8E-4C4A-81B1-CFD1F1A279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/>
          <a:p>
            <a:r>
              <a:rPr lang="en-US" dirty="0"/>
              <a:t>F5 Class 40/48 km/h </a:t>
            </a:r>
          </a:p>
        </p:txBody>
      </p:sp>
    </p:spTree>
    <p:extLst>
      <p:ext uri="{BB962C8B-B14F-4D97-AF65-F5344CB8AC3E}">
        <p14:creationId xmlns:p14="http://schemas.microsoft.com/office/powerpoint/2010/main" val="228745251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9B52CE-4AD7-4BFE-B3CD-468F9AA2E1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R Class 50 km/h </a:t>
            </a:r>
          </a:p>
          <a:p>
            <a:r>
              <a:rPr lang="en-US" dirty="0"/>
              <a:t>RR Class 80 km/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24DDD9-C892-470F-B484-6889E8936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R Class</a:t>
            </a:r>
            <a:br>
              <a:rPr lang="en-US" dirty="0"/>
            </a:br>
            <a:r>
              <a:rPr lang="en-US" dirty="0"/>
              <a:t>Movable Deformable Barrier / Wall Rigid Barri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67C15C-9580-403E-AA6B-9457B843E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B8356-1459-4F18-9EEB-4D025BBB22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3E899C-7A3F-4818-BBA3-07922D6CBF8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AD049CCC-5A1D-4D54-8E03-027F284AA7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" t="29113" r="80829" b="4968"/>
          <a:stretch/>
        </p:blipFill>
        <p:spPr bwMode="auto">
          <a:xfrm>
            <a:off x="5437195" y="1691640"/>
            <a:ext cx="1584325" cy="192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41D08472-A355-4445-B09B-651C24B187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" t="29113" r="80829" b="4968"/>
          <a:stretch/>
        </p:blipFill>
        <p:spPr bwMode="auto">
          <a:xfrm>
            <a:off x="7092954" y="1691640"/>
            <a:ext cx="1584325" cy="192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14">
            <a:extLst>
              <a:ext uri="{FF2B5EF4-FFF2-40B4-BE49-F238E27FC236}">
                <a16:creationId xmlns:a16="http://schemas.microsoft.com/office/drawing/2014/main" id="{904A5F5E-5369-4FE1-AFC2-65AC2DAAB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694282" y="3635294"/>
            <a:ext cx="1070150" cy="37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AE50D80-83B7-4D45-B7E4-FECC519BF6B9}"/>
              </a:ext>
            </a:extLst>
          </p:cNvPr>
          <p:cNvSpPr/>
          <p:nvPr/>
        </p:nvSpPr>
        <p:spPr>
          <a:xfrm>
            <a:off x="7129369" y="3653164"/>
            <a:ext cx="1511494" cy="272018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28411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4476D4-5030-4E40-942C-A743E356E0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1/R1 Class 13 km/h Pole</a:t>
            </a:r>
          </a:p>
          <a:p>
            <a:r>
              <a:rPr lang="en-US" dirty="0"/>
              <a:t>L2/R2 Class 29 km/h Pole</a:t>
            </a:r>
          </a:p>
          <a:p>
            <a:r>
              <a:rPr lang="en-US" dirty="0"/>
              <a:t>L3/R3 Class 32 km/h Po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93C1D2-9EAA-44AF-BB59-E5F279FC0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1/L2/L3/R1/R2/R3 Classes</a:t>
            </a:r>
            <a:br>
              <a:rPr lang="en-US" dirty="0"/>
            </a:br>
            <a:r>
              <a:rPr lang="en-US" dirty="0"/>
              <a:t>Left/ Right Po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12702-41C2-4D4E-A4A1-6585100A9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5C1F31-2B8A-4928-A788-31B7CBD334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EEBDB8-B8EC-446B-B6C7-B595C1C969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8" name="Group 177">
            <a:extLst>
              <a:ext uri="{FF2B5EF4-FFF2-40B4-BE49-F238E27FC236}">
                <a16:creationId xmlns:a16="http://schemas.microsoft.com/office/drawing/2014/main" id="{D6949FD6-1624-420B-9FA7-901AE6CC4582}"/>
              </a:ext>
            </a:extLst>
          </p:cNvPr>
          <p:cNvGrpSpPr>
            <a:grpSpLocks/>
          </p:cNvGrpSpPr>
          <p:nvPr/>
        </p:nvGrpSpPr>
        <p:grpSpPr bwMode="auto">
          <a:xfrm>
            <a:off x="6804248" y="1563638"/>
            <a:ext cx="1145947" cy="2232248"/>
            <a:chOff x="3888" y="1008"/>
            <a:chExt cx="1392" cy="2717"/>
          </a:xfrm>
        </p:grpSpPr>
        <p:grpSp>
          <p:nvGrpSpPr>
            <p:cNvPr id="10" name="Group 178">
              <a:extLst>
                <a:ext uri="{FF2B5EF4-FFF2-40B4-BE49-F238E27FC236}">
                  <a16:creationId xmlns:a16="http://schemas.microsoft.com/office/drawing/2014/main" id="{011825A9-13A5-4AA5-B9F2-5060A17BCD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88" y="1104"/>
              <a:ext cx="1125" cy="2496"/>
              <a:chOff x="4347" y="1158"/>
              <a:chExt cx="1125" cy="2496"/>
            </a:xfrm>
          </p:grpSpPr>
          <p:sp>
            <p:nvSpPr>
              <p:cNvPr id="14" name="Freeform 179">
                <a:extLst>
                  <a:ext uri="{FF2B5EF4-FFF2-40B4-BE49-F238E27FC236}">
                    <a16:creationId xmlns:a16="http://schemas.microsoft.com/office/drawing/2014/main" id="{13AFCE82-3D17-4114-B4DA-89F72099439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8" y="1933"/>
                <a:ext cx="75" cy="657"/>
              </a:xfrm>
              <a:custGeom>
                <a:avLst/>
                <a:gdLst/>
                <a:ahLst/>
                <a:cxnLst>
                  <a:cxn ang="0">
                    <a:pos x="62" y="6"/>
                  </a:cxn>
                  <a:cxn ang="0">
                    <a:pos x="60" y="3"/>
                  </a:cxn>
                  <a:cxn ang="0">
                    <a:pos x="58" y="0"/>
                  </a:cxn>
                  <a:cxn ang="0">
                    <a:pos x="50" y="1"/>
                  </a:cxn>
                  <a:cxn ang="0">
                    <a:pos x="48" y="3"/>
                  </a:cxn>
                  <a:cxn ang="0">
                    <a:pos x="43" y="21"/>
                  </a:cxn>
                  <a:cxn ang="0">
                    <a:pos x="37" y="39"/>
                  </a:cxn>
                  <a:cxn ang="0">
                    <a:pos x="33" y="55"/>
                  </a:cxn>
                  <a:cxn ang="0">
                    <a:pos x="23" y="89"/>
                  </a:cxn>
                  <a:cxn ang="0">
                    <a:pos x="20" y="107"/>
                  </a:cxn>
                  <a:cxn ang="0">
                    <a:pos x="17" y="124"/>
                  </a:cxn>
                  <a:cxn ang="0">
                    <a:pos x="13" y="140"/>
                  </a:cxn>
                  <a:cxn ang="0">
                    <a:pos x="10" y="158"/>
                  </a:cxn>
                  <a:cxn ang="0">
                    <a:pos x="7" y="182"/>
                  </a:cxn>
                  <a:cxn ang="0">
                    <a:pos x="5" y="199"/>
                  </a:cxn>
                  <a:cxn ang="0">
                    <a:pos x="3" y="225"/>
                  </a:cxn>
                  <a:cxn ang="0">
                    <a:pos x="2" y="275"/>
                  </a:cxn>
                  <a:cxn ang="0">
                    <a:pos x="0" y="283"/>
                  </a:cxn>
                  <a:cxn ang="0">
                    <a:pos x="2" y="298"/>
                  </a:cxn>
                  <a:cxn ang="0">
                    <a:pos x="3" y="341"/>
                  </a:cxn>
                  <a:cxn ang="0">
                    <a:pos x="7" y="381"/>
                  </a:cxn>
                  <a:cxn ang="0">
                    <a:pos x="10" y="406"/>
                  </a:cxn>
                  <a:cxn ang="0">
                    <a:pos x="13" y="420"/>
                  </a:cxn>
                  <a:cxn ang="0">
                    <a:pos x="17" y="437"/>
                  </a:cxn>
                  <a:cxn ang="0">
                    <a:pos x="22" y="453"/>
                  </a:cxn>
                  <a:cxn ang="0">
                    <a:pos x="25" y="469"/>
                  </a:cxn>
                  <a:cxn ang="0">
                    <a:pos x="30" y="486"/>
                  </a:cxn>
                  <a:cxn ang="0">
                    <a:pos x="33" y="500"/>
                  </a:cxn>
                  <a:cxn ang="0">
                    <a:pos x="40" y="517"/>
                  </a:cxn>
                  <a:cxn ang="0">
                    <a:pos x="45" y="533"/>
                  </a:cxn>
                  <a:cxn ang="0">
                    <a:pos x="47" y="536"/>
                  </a:cxn>
                  <a:cxn ang="0">
                    <a:pos x="50" y="538"/>
                  </a:cxn>
                  <a:cxn ang="0">
                    <a:pos x="53" y="536"/>
                  </a:cxn>
                  <a:cxn ang="0">
                    <a:pos x="57" y="535"/>
                  </a:cxn>
                  <a:cxn ang="0">
                    <a:pos x="58" y="531"/>
                  </a:cxn>
                  <a:cxn ang="0">
                    <a:pos x="57" y="528"/>
                  </a:cxn>
                  <a:cxn ang="0">
                    <a:pos x="55" y="522"/>
                  </a:cxn>
                  <a:cxn ang="0">
                    <a:pos x="48" y="505"/>
                  </a:cxn>
                  <a:cxn ang="0">
                    <a:pos x="45" y="491"/>
                  </a:cxn>
                  <a:cxn ang="0">
                    <a:pos x="40" y="474"/>
                  </a:cxn>
                  <a:cxn ang="0">
                    <a:pos x="35" y="458"/>
                  </a:cxn>
                  <a:cxn ang="0">
                    <a:pos x="32" y="442"/>
                  </a:cxn>
                  <a:cxn ang="0">
                    <a:pos x="28" y="427"/>
                  </a:cxn>
                  <a:cxn ang="0">
                    <a:pos x="25" y="411"/>
                  </a:cxn>
                  <a:cxn ang="0">
                    <a:pos x="22" y="386"/>
                  </a:cxn>
                  <a:cxn ang="0">
                    <a:pos x="17" y="347"/>
                  </a:cxn>
                  <a:cxn ang="0">
                    <a:pos x="15" y="306"/>
                  </a:cxn>
                  <a:cxn ang="0">
                    <a:pos x="13" y="290"/>
                  </a:cxn>
                  <a:cxn ang="0">
                    <a:pos x="15" y="275"/>
                  </a:cxn>
                  <a:cxn ang="0">
                    <a:pos x="17" y="225"/>
                  </a:cxn>
                  <a:cxn ang="0">
                    <a:pos x="18" y="200"/>
                  </a:cxn>
                  <a:cxn ang="0">
                    <a:pos x="20" y="184"/>
                  </a:cxn>
                  <a:cxn ang="0">
                    <a:pos x="23" y="159"/>
                  </a:cxn>
                  <a:cxn ang="0">
                    <a:pos x="27" y="143"/>
                  </a:cxn>
                  <a:cxn ang="0">
                    <a:pos x="30" y="125"/>
                  </a:cxn>
                  <a:cxn ang="0">
                    <a:pos x="33" y="109"/>
                  </a:cxn>
                  <a:cxn ang="0">
                    <a:pos x="37" y="93"/>
                  </a:cxn>
                  <a:cxn ang="0">
                    <a:pos x="45" y="58"/>
                  </a:cxn>
                  <a:cxn ang="0">
                    <a:pos x="50" y="42"/>
                  </a:cxn>
                  <a:cxn ang="0">
                    <a:pos x="55" y="24"/>
                  </a:cxn>
                  <a:cxn ang="0">
                    <a:pos x="60" y="8"/>
                  </a:cxn>
                </a:cxnLst>
                <a:rect l="0" t="0" r="r" b="b"/>
                <a:pathLst>
                  <a:path w="62" h="538">
                    <a:moveTo>
                      <a:pt x="60" y="8"/>
                    </a:moveTo>
                    <a:lnTo>
                      <a:pt x="62" y="6"/>
                    </a:lnTo>
                    <a:lnTo>
                      <a:pt x="62" y="5"/>
                    </a:lnTo>
                    <a:lnTo>
                      <a:pt x="60" y="3"/>
                    </a:lnTo>
                    <a:lnTo>
                      <a:pt x="60" y="1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50" y="1"/>
                    </a:lnTo>
                    <a:lnTo>
                      <a:pt x="48" y="1"/>
                    </a:lnTo>
                    <a:lnTo>
                      <a:pt x="48" y="3"/>
                    </a:lnTo>
                    <a:lnTo>
                      <a:pt x="45" y="13"/>
                    </a:lnTo>
                    <a:lnTo>
                      <a:pt x="43" y="21"/>
                    </a:lnTo>
                    <a:lnTo>
                      <a:pt x="40" y="29"/>
                    </a:lnTo>
                    <a:lnTo>
                      <a:pt x="37" y="39"/>
                    </a:lnTo>
                    <a:lnTo>
                      <a:pt x="35" y="47"/>
                    </a:lnTo>
                    <a:lnTo>
                      <a:pt x="33" y="55"/>
                    </a:lnTo>
                    <a:lnTo>
                      <a:pt x="30" y="63"/>
                    </a:lnTo>
                    <a:lnTo>
                      <a:pt x="23" y="89"/>
                    </a:lnTo>
                    <a:lnTo>
                      <a:pt x="22" y="98"/>
                    </a:lnTo>
                    <a:lnTo>
                      <a:pt x="20" y="107"/>
                    </a:lnTo>
                    <a:lnTo>
                      <a:pt x="18" y="115"/>
                    </a:lnTo>
                    <a:lnTo>
                      <a:pt x="17" y="124"/>
                    </a:lnTo>
                    <a:lnTo>
                      <a:pt x="15" y="132"/>
                    </a:lnTo>
                    <a:lnTo>
                      <a:pt x="13" y="140"/>
                    </a:lnTo>
                    <a:lnTo>
                      <a:pt x="12" y="148"/>
                    </a:lnTo>
                    <a:lnTo>
                      <a:pt x="10" y="158"/>
                    </a:lnTo>
                    <a:lnTo>
                      <a:pt x="8" y="174"/>
                    </a:lnTo>
                    <a:lnTo>
                      <a:pt x="7" y="182"/>
                    </a:lnTo>
                    <a:lnTo>
                      <a:pt x="5" y="190"/>
                    </a:lnTo>
                    <a:lnTo>
                      <a:pt x="5" y="199"/>
                    </a:lnTo>
                    <a:lnTo>
                      <a:pt x="3" y="207"/>
                    </a:lnTo>
                    <a:lnTo>
                      <a:pt x="3" y="225"/>
                    </a:lnTo>
                    <a:lnTo>
                      <a:pt x="2" y="233"/>
                    </a:lnTo>
                    <a:lnTo>
                      <a:pt x="2" y="275"/>
                    </a:lnTo>
                    <a:lnTo>
                      <a:pt x="2" y="274"/>
                    </a:lnTo>
                    <a:lnTo>
                      <a:pt x="0" y="283"/>
                    </a:lnTo>
                    <a:lnTo>
                      <a:pt x="0" y="290"/>
                    </a:lnTo>
                    <a:lnTo>
                      <a:pt x="2" y="298"/>
                    </a:lnTo>
                    <a:lnTo>
                      <a:pt x="2" y="306"/>
                    </a:lnTo>
                    <a:lnTo>
                      <a:pt x="3" y="341"/>
                    </a:lnTo>
                    <a:lnTo>
                      <a:pt x="3" y="349"/>
                    </a:lnTo>
                    <a:lnTo>
                      <a:pt x="7" y="381"/>
                    </a:lnTo>
                    <a:lnTo>
                      <a:pt x="8" y="388"/>
                    </a:lnTo>
                    <a:lnTo>
                      <a:pt x="10" y="406"/>
                    </a:lnTo>
                    <a:lnTo>
                      <a:pt x="12" y="412"/>
                    </a:lnTo>
                    <a:lnTo>
                      <a:pt x="13" y="420"/>
                    </a:lnTo>
                    <a:lnTo>
                      <a:pt x="15" y="429"/>
                    </a:lnTo>
                    <a:lnTo>
                      <a:pt x="17" y="437"/>
                    </a:lnTo>
                    <a:lnTo>
                      <a:pt x="18" y="445"/>
                    </a:lnTo>
                    <a:lnTo>
                      <a:pt x="22" y="453"/>
                    </a:lnTo>
                    <a:lnTo>
                      <a:pt x="23" y="461"/>
                    </a:lnTo>
                    <a:lnTo>
                      <a:pt x="25" y="469"/>
                    </a:lnTo>
                    <a:lnTo>
                      <a:pt x="27" y="478"/>
                    </a:lnTo>
                    <a:lnTo>
                      <a:pt x="30" y="486"/>
                    </a:lnTo>
                    <a:lnTo>
                      <a:pt x="32" y="494"/>
                    </a:lnTo>
                    <a:lnTo>
                      <a:pt x="33" y="500"/>
                    </a:lnTo>
                    <a:lnTo>
                      <a:pt x="37" y="509"/>
                    </a:lnTo>
                    <a:lnTo>
                      <a:pt x="40" y="517"/>
                    </a:lnTo>
                    <a:lnTo>
                      <a:pt x="42" y="525"/>
                    </a:lnTo>
                    <a:lnTo>
                      <a:pt x="45" y="533"/>
                    </a:lnTo>
                    <a:lnTo>
                      <a:pt x="45" y="535"/>
                    </a:lnTo>
                    <a:lnTo>
                      <a:pt x="47" y="536"/>
                    </a:lnTo>
                    <a:lnTo>
                      <a:pt x="48" y="536"/>
                    </a:lnTo>
                    <a:lnTo>
                      <a:pt x="50" y="538"/>
                    </a:lnTo>
                    <a:lnTo>
                      <a:pt x="52" y="538"/>
                    </a:lnTo>
                    <a:lnTo>
                      <a:pt x="53" y="536"/>
                    </a:lnTo>
                    <a:lnTo>
                      <a:pt x="55" y="536"/>
                    </a:lnTo>
                    <a:lnTo>
                      <a:pt x="57" y="535"/>
                    </a:lnTo>
                    <a:lnTo>
                      <a:pt x="57" y="533"/>
                    </a:lnTo>
                    <a:lnTo>
                      <a:pt x="58" y="531"/>
                    </a:lnTo>
                    <a:lnTo>
                      <a:pt x="58" y="530"/>
                    </a:lnTo>
                    <a:lnTo>
                      <a:pt x="57" y="528"/>
                    </a:lnTo>
                    <a:lnTo>
                      <a:pt x="57" y="528"/>
                    </a:lnTo>
                    <a:lnTo>
                      <a:pt x="55" y="522"/>
                    </a:lnTo>
                    <a:lnTo>
                      <a:pt x="52" y="513"/>
                    </a:lnTo>
                    <a:lnTo>
                      <a:pt x="48" y="505"/>
                    </a:lnTo>
                    <a:lnTo>
                      <a:pt x="47" y="497"/>
                    </a:lnTo>
                    <a:lnTo>
                      <a:pt x="45" y="491"/>
                    </a:lnTo>
                    <a:lnTo>
                      <a:pt x="42" y="482"/>
                    </a:lnTo>
                    <a:lnTo>
                      <a:pt x="40" y="474"/>
                    </a:lnTo>
                    <a:lnTo>
                      <a:pt x="38" y="466"/>
                    </a:lnTo>
                    <a:lnTo>
                      <a:pt x="35" y="458"/>
                    </a:lnTo>
                    <a:lnTo>
                      <a:pt x="33" y="450"/>
                    </a:lnTo>
                    <a:lnTo>
                      <a:pt x="32" y="442"/>
                    </a:lnTo>
                    <a:lnTo>
                      <a:pt x="30" y="435"/>
                    </a:lnTo>
                    <a:lnTo>
                      <a:pt x="28" y="427"/>
                    </a:lnTo>
                    <a:lnTo>
                      <a:pt x="27" y="419"/>
                    </a:lnTo>
                    <a:lnTo>
                      <a:pt x="25" y="411"/>
                    </a:lnTo>
                    <a:lnTo>
                      <a:pt x="23" y="402"/>
                    </a:lnTo>
                    <a:lnTo>
                      <a:pt x="22" y="386"/>
                    </a:lnTo>
                    <a:lnTo>
                      <a:pt x="20" y="380"/>
                    </a:lnTo>
                    <a:lnTo>
                      <a:pt x="17" y="347"/>
                    </a:lnTo>
                    <a:lnTo>
                      <a:pt x="17" y="339"/>
                    </a:lnTo>
                    <a:lnTo>
                      <a:pt x="15" y="306"/>
                    </a:lnTo>
                    <a:lnTo>
                      <a:pt x="15" y="298"/>
                    </a:lnTo>
                    <a:lnTo>
                      <a:pt x="13" y="290"/>
                    </a:lnTo>
                    <a:lnTo>
                      <a:pt x="13" y="283"/>
                    </a:lnTo>
                    <a:lnTo>
                      <a:pt x="15" y="275"/>
                    </a:lnTo>
                    <a:lnTo>
                      <a:pt x="15" y="233"/>
                    </a:lnTo>
                    <a:lnTo>
                      <a:pt x="17" y="225"/>
                    </a:lnTo>
                    <a:lnTo>
                      <a:pt x="17" y="208"/>
                    </a:lnTo>
                    <a:lnTo>
                      <a:pt x="18" y="200"/>
                    </a:lnTo>
                    <a:lnTo>
                      <a:pt x="18" y="192"/>
                    </a:lnTo>
                    <a:lnTo>
                      <a:pt x="20" y="184"/>
                    </a:lnTo>
                    <a:lnTo>
                      <a:pt x="22" y="176"/>
                    </a:lnTo>
                    <a:lnTo>
                      <a:pt x="23" y="159"/>
                    </a:lnTo>
                    <a:lnTo>
                      <a:pt x="25" y="151"/>
                    </a:lnTo>
                    <a:lnTo>
                      <a:pt x="27" y="143"/>
                    </a:lnTo>
                    <a:lnTo>
                      <a:pt x="28" y="133"/>
                    </a:lnTo>
                    <a:lnTo>
                      <a:pt x="30" y="125"/>
                    </a:lnTo>
                    <a:lnTo>
                      <a:pt x="32" y="117"/>
                    </a:lnTo>
                    <a:lnTo>
                      <a:pt x="33" y="109"/>
                    </a:lnTo>
                    <a:lnTo>
                      <a:pt x="35" y="101"/>
                    </a:lnTo>
                    <a:lnTo>
                      <a:pt x="37" y="93"/>
                    </a:lnTo>
                    <a:lnTo>
                      <a:pt x="43" y="67"/>
                    </a:lnTo>
                    <a:lnTo>
                      <a:pt x="45" y="58"/>
                    </a:lnTo>
                    <a:lnTo>
                      <a:pt x="47" y="50"/>
                    </a:lnTo>
                    <a:lnTo>
                      <a:pt x="50" y="42"/>
                    </a:lnTo>
                    <a:lnTo>
                      <a:pt x="52" y="34"/>
                    </a:lnTo>
                    <a:lnTo>
                      <a:pt x="55" y="24"/>
                    </a:lnTo>
                    <a:lnTo>
                      <a:pt x="58" y="16"/>
                    </a:lnTo>
                    <a:lnTo>
                      <a:pt x="6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" name="Freeform 180">
                <a:extLst>
                  <a:ext uri="{FF2B5EF4-FFF2-40B4-BE49-F238E27FC236}">
                    <a16:creationId xmlns:a16="http://schemas.microsoft.com/office/drawing/2014/main" id="{F001D80E-C03C-4D23-927C-C7B79565B36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82" y="2058"/>
                <a:ext cx="375" cy="10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4"/>
                  </a:cxn>
                  <a:cxn ang="0">
                    <a:pos x="1" y="12"/>
                  </a:cxn>
                  <a:cxn ang="0">
                    <a:pos x="5" y="13"/>
                  </a:cxn>
                  <a:cxn ang="0">
                    <a:pos x="18" y="15"/>
                  </a:cxn>
                  <a:cxn ang="0">
                    <a:pos x="25" y="17"/>
                  </a:cxn>
                  <a:cxn ang="0">
                    <a:pos x="33" y="18"/>
                  </a:cxn>
                  <a:cxn ang="0">
                    <a:pos x="40" y="20"/>
                  </a:cxn>
                  <a:cxn ang="0">
                    <a:pos x="49" y="21"/>
                  </a:cxn>
                  <a:cxn ang="0">
                    <a:pos x="69" y="25"/>
                  </a:cxn>
                  <a:cxn ang="0">
                    <a:pos x="78" y="28"/>
                  </a:cxn>
                  <a:cxn ang="0">
                    <a:pos x="86" y="30"/>
                  </a:cxn>
                  <a:cxn ang="0">
                    <a:pos x="109" y="35"/>
                  </a:cxn>
                  <a:cxn ang="0">
                    <a:pos x="114" y="36"/>
                  </a:cxn>
                  <a:cxn ang="0">
                    <a:pos x="123" y="38"/>
                  </a:cxn>
                  <a:cxn ang="0">
                    <a:pos x="142" y="43"/>
                  </a:cxn>
                  <a:cxn ang="0">
                    <a:pos x="159" y="48"/>
                  </a:cxn>
                  <a:cxn ang="0">
                    <a:pos x="176" y="52"/>
                  </a:cxn>
                  <a:cxn ang="0">
                    <a:pos x="206" y="61"/>
                  </a:cxn>
                  <a:cxn ang="0">
                    <a:pos x="217" y="64"/>
                  </a:cxn>
                  <a:cxn ang="0">
                    <a:pos x="230" y="67"/>
                  </a:cxn>
                  <a:cxn ang="0">
                    <a:pos x="250" y="72"/>
                  </a:cxn>
                  <a:cxn ang="0">
                    <a:pos x="270" y="79"/>
                  </a:cxn>
                  <a:cxn ang="0">
                    <a:pos x="285" y="82"/>
                  </a:cxn>
                  <a:cxn ang="0">
                    <a:pos x="302" y="87"/>
                  </a:cxn>
                  <a:cxn ang="0">
                    <a:pos x="305" y="85"/>
                  </a:cxn>
                  <a:cxn ang="0">
                    <a:pos x="307" y="83"/>
                  </a:cxn>
                  <a:cxn ang="0">
                    <a:pos x="309" y="80"/>
                  </a:cxn>
                  <a:cxn ang="0">
                    <a:pos x="307" y="77"/>
                  </a:cxn>
                  <a:cxn ang="0">
                    <a:pos x="305" y="74"/>
                  </a:cxn>
                  <a:cxn ang="0">
                    <a:pos x="304" y="74"/>
                  </a:cxn>
                  <a:cxn ang="0">
                    <a:pos x="280" y="67"/>
                  </a:cxn>
                  <a:cxn ang="0">
                    <a:pos x="260" y="62"/>
                  </a:cxn>
                  <a:cxn ang="0">
                    <a:pos x="247" y="57"/>
                  </a:cxn>
                  <a:cxn ang="0">
                    <a:pos x="227" y="52"/>
                  </a:cxn>
                  <a:cxn ang="0">
                    <a:pos x="214" y="49"/>
                  </a:cxn>
                  <a:cxn ang="0">
                    <a:pos x="202" y="46"/>
                  </a:cxn>
                  <a:cxn ang="0">
                    <a:pos x="172" y="38"/>
                  </a:cxn>
                  <a:cxn ang="0">
                    <a:pos x="151" y="33"/>
                  </a:cxn>
                  <a:cxn ang="0">
                    <a:pos x="141" y="30"/>
                  </a:cxn>
                  <a:cxn ang="0">
                    <a:pos x="121" y="25"/>
                  </a:cxn>
                  <a:cxn ang="0">
                    <a:pos x="111" y="23"/>
                  </a:cxn>
                  <a:cxn ang="0">
                    <a:pos x="94" y="18"/>
                  </a:cxn>
                  <a:cxn ang="0">
                    <a:pos x="86" y="15"/>
                  </a:cxn>
                  <a:cxn ang="0">
                    <a:pos x="73" y="13"/>
                  </a:cxn>
                  <a:cxn ang="0">
                    <a:pos x="51" y="8"/>
                  </a:cxn>
                  <a:cxn ang="0">
                    <a:pos x="41" y="7"/>
                  </a:cxn>
                  <a:cxn ang="0">
                    <a:pos x="36" y="5"/>
                  </a:cxn>
                  <a:cxn ang="0">
                    <a:pos x="28" y="4"/>
                  </a:cxn>
                  <a:cxn ang="0">
                    <a:pos x="20" y="2"/>
                  </a:cxn>
                  <a:cxn ang="0">
                    <a:pos x="8" y="0"/>
                  </a:cxn>
                </a:cxnLst>
                <a:rect l="0" t="0" r="r" b="b"/>
                <a:pathLst>
                  <a:path w="309" h="87">
                    <a:moveTo>
                      <a:pt x="6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13" y="13"/>
                    </a:lnTo>
                    <a:lnTo>
                      <a:pt x="18" y="15"/>
                    </a:lnTo>
                    <a:lnTo>
                      <a:pt x="21" y="15"/>
                    </a:lnTo>
                    <a:lnTo>
                      <a:pt x="25" y="17"/>
                    </a:lnTo>
                    <a:lnTo>
                      <a:pt x="30" y="17"/>
                    </a:lnTo>
                    <a:lnTo>
                      <a:pt x="33" y="18"/>
                    </a:lnTo>
                    <a:lnTo>
                      <a:pt x="36" y="18"/>
                    </a:lnTo>
                    <a:lnTo>
                      <a:pt x="40" y="20"/>
                    </a:lnTo>
                    <a:lnTo>
                      <a:pt x="46" y="20"/>
                    </a:lnTo>
                    <a:lnTo>
                      <a:pt x="49" y="21"/>
                    </a:lnTo>
                    <a:lnTo>
                      <a:pt x="54" y="23"/>
                    </a:lnTo>
                    <a:lnTo>
                      <a:pt x="69" y="25"/>
                    </a:lnTo>
                    <a:lnTo>
                      <a:pt x="74" y="26"/>
                    </a:lnTo>
                    <a:lnTo>
                      <a:pt x="78" y="28"/>
                    </a:lnTo>
                    <a:lnTo>
                      <a:pt x="83" y="28"/>
                    </a:lnTo>
                    <a:lnTo>
                      <a:pt x="86" y="30"/>
                    </a:lnTo>
                    <a:lnTo>
                      <a:pt x="91" y="31"/>
                    </a:lnTo>
                    <a:lnTo>
                      <a:pt x="109" y="35"/>
                    </a:lnTo>
                    <a:lnTo>
                      <a:pt x="109" y="36"/>
                    </a:lnTo>
                    <a:lnTo>
                      <a:pt x="114" y="36"/>
                    </a:lnTo>
                    <a:lnTo>
                      <a:pt x="118" y="38"/>
                    </a:lnTo>
                    <a:lnTo>
                      <a:pt x="123" y="38"/>
                    </a:lnTo>
                    <a:lnTo>
                      <a:pt x="137" y="43"/>
                    </a:lnTo>
                    <a:lnTo>
                      <a:pt x="142" y="43"/>
                    </a:lnTo>
                    <a:lnTo>
                      <a:pt x="147" y="44"/>
                    </a:lnTo>
                    <a:lnTo>
                      <a:pt x="159" y="48"/>
                    </a:lnTo>
                    <a:lnTo>
                      <a:pt x="169" y="51"/>
                    </a:lnTo>
                    <a:lnTo>
                      <a:pt x="176" y="52"/>
                    </a:lnTo>
                    <a:lnTo>
                      <a:pt x="199" y="59"/>
                    </a:lnTo>
                    <a:lnTo>
                      <a:pt x="206" y="61"/>
                    </a:lnTo>
                    <a:lnTo>
                      <a:pt x="211" y="62"/>
                    </a:lnTo>
                    <a:lnTo>
                      <a:pt x="217" y="64"/>
                    </a:lnTo>
                    <a:lnTo>
                      <a:pt x="224" y="66"/>
                    </a:lnTo>
                    <a:lnTo>
                      <a:pt x="230" y="67"/>
                    </a:lnTo>
                    <a:lnTo>
                      <a:pt x="244" y="70"/>
                    </a:lnTo>
                    <a:lnTo>
                      <a:pt x="250" y="72"/>
                    </a:lnTo>
                    <a:lnTo>
                      <a:pt x="257" y="74"/>
                    </a:lnTo>
                    <a:lnTo>
                      <a:pt x="270" y="79"/>
                    </a:lnTo>
                    <a:lnTo>
                      <a:pt x="277" y="80"/>
                    </a:lnTo>
                    <a:lnTo>
                      <a:pt x="285" y="82"/>
                    </a:lnTo>
                    <a:lnTo>
                      <a:pt x="300" y="85"/>
                    </a:lnTo>
                    <a:lnTo>
                      <a:pt x="302" y="87"/>
                    </a:lnTo>
                    <a:lnTo>
                      <a:pt x="304" y="85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7" y="83"/>
                    </a:lnTo>
                    <a:lnTo>
                      <a:pt x="307" y="82"/>
                    </a:lnTo>
                    <a:lnTo>
                      <a:pt x="309" y="80"/>
                    </a:lnTo>
                    <a:lnTo>
                      <a:pt x="307" y="79"/>
                    </a:lnTo>
                    <a:lnTo>
                      <a:pt x="307" y="77"/>
                    </a:lnTo>
                    <a:lnTo>
                      <a:pt x="305" y="75"/>
                    </a:lnTo>
                    <a:lnTo>
                      <a:pt x="305" y="74"/>
                    </a:lnTo>
                    <a:lnTo>
                      <a:pt x="304" y="74"/>
                    </a:lnTo>
                    <a:lnTo>
                      <a:pt x="304" y="74"/>
                    </a:lnTo>
                    <a:lnTo>
                      <a:pt x="289" y="69"/>
                    </a:lnTo>
                    <a:lnTo>
                      <a:pt x="280" y="67"/>
                    </a:lnTo>
                    <a:lnTo>
                      <a:pt x="274" y="66"/>
                    </a:lnTo>
                    <a:lnTo>
                      <a:pt x="260" y="62"/>
                    </a:lnTo>
                    <a:lnTo>
                      <a:pt x="254" y="61"/>
                    </a:lnTo>
                    <a:lnTo>
                      <a:pt x="247" y="57"/>
                    </a:lnTo>
                    <a:lnTo>
                      <a:pt x="234" y="54"/>
                    </a:lnTo>
                    <a:lnTo>
                      <a:pt x="227" y="52"/>
                    </a:lnTo>
                    <a:lnTo>
                      <a:pt x="221" y="51"/>
                    </a:lnTo>
                    <a:lnTo>
                      <a:pt x="214" y="49"/>
                    </a:lnTo>
                    <a:lnTo>
                      <a:pt x="209" y="48"/>
                    </a:lnTo>
                    <a:lnTo>
                      <a:pt x="202" y="46"/>
                    </a:lnTo>
                    <a:lnTo>
                      <a:pt x="179" y="39"/>
                    </a:lnTo>
                    <a:lnTo>
                      <a:pt x="172" y="38"/>
                    </a:lnTo>
                    <a:lnTo>
                      <a:pt x="162" y="35"/>
                    </a:lnTo>
                    <a:lnTo>
                      <a:pt x="151" y="33"/>
                    </a:lnTo>
                    <a:lnTo>
                      <a:pt x="146" y="31"/>
                    </a:lnTo>
                    <a:lnTo>
                      <a:pt x="141" y="30"/>
                    </a:lnTo>
                    <a:lnTo>
                      <a:pt x="126" y="26"/>
                    </a:lnTo>
                    <a:lnTo>
                      <a:pt x="121" y="25"/>
                    </a:lnTo>
                    <a:lnTo>
                      <a:pt x="116" y="23"/>
                    </a:lnTo>
                    <a:lnTo>
                      <a:pt x="111" y="23"/>
                    </a:lnTo>
                    <a:lnTo>
                      <a:pt x="113" y="23"/>
                    </a:lnTo>
                    <a:lnTo>
                      <a:pt x="94" y="18"/>
                    </a:lnTo>
                    <a:lnTo>
                      <a:pt x="89" y="17"/>
                    </a:lnTo>
                    <a:lnTo>
                      <a:pt x="86" y="15"/>
                    </a:lnTo>
                    <a:lnTo>
                      <a:pt x="78" y="15"/>
                    </a:lnTo>
                    <a:lnTo>
                      <a:pt x="73" y="13"/>
                    </a:lnTo>
                    <a:lnTo>
                      <a:pt x="58" y="10"/>
                    </a:lnTo>
                    <a:lnTo>
                      <a:pt x="51" y="8"/>
                    </a:lnTo>
                    <a:lnTo>
                      <a:pt x="48" y="7"/>
                    </a:lnTo>
                    <a:lnTo>
                      <a:pt x="41" y="7"/>
                    </a:lnTo>
                    <a:lnTo>
                      <a:pt x="38" y="5"/>
                    </a:lnTo>
                    <a:lnTo>
                      <a:pt x="36" y="5"/>
                    </a:lnTo>
                    <a:lnTo>
                      <a:pt x="33" y="4"/>
                    </a:lnTo>
                    <a:lnTo>
                      <a:pt x="28" y="4"/>
                    </a:lnTo>
                    <a:lnTo>
                      <a:pt x="25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 181">
                <a:extLst>
                  <a:ext uri="{FF2B5EF4-FFF2-40B4-BE49-F238E27FC236}">
                    <a16:creationId xmlns:a16="http://schemas.microsoft.com/office/drawing/2014/main" id="{DDF885BF-B22F-455A-9E11-A8D29EF0348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39" y="1609"/>
                <a:ext cx="548" cy="822"/>
              </a:xfrm>
              <a:custGeom>
                <a:avLst/>
                <a:gdLst/>
                <a:ahLst/>
                <a:cxnLst>
                  <a:cxn ang="0">
                    <a:pos x="446" y="611"/>
                  </a:cxn>
                  <a:cxn ang="0">
                    <a:pos x="450" y="610"/>
                  </a:cxn>
                  <a:cxn ang="0">
                    <a:pos x="451" y="606"/>
                  </a:cxn>
                  <a:cxn ang="0">
                    <a:pos x="450" y="603"/>
                  </a:cxn>
                  <a:cxn ang="0">
                    <a:pos x="448" y="600"/>
                  </a:cxn>
                  <a:cxn ang="0">
                    <a:pos x="337" y="621"/>
                  </a:cxn>
                  <a:cxn ang="0">
                    <a:pos x="154" y="659"/>
                  </a:cxn>
                  <a:cxn ang="0">
                    <a:pos x="127" y="660"/>
                  </a:cxn>
                  <a:cxn ang="0">
                    <a:pos x="109" y="654"/>
                  </a:cxn>
                  <a:cxn ang="0">
                    <a:pos x="88" y="641"/>
                  </a:cxn>
                  <a:cxn ang="0">
                    <a:pos x="54" y="603"/>
                  </a:cxn>
                  <a:cxn ang="0">
                    <a:pos x="29" y="526"/>
                  </a:cxn>
                  <a:cxn ang="0">
                    <a:pos x="14" y="438"/>
                  </a:cxn>
                  <a:cxn ang="0">
                    <a:pos x="14" y="269"/>
                  </a:cxn>
                  <a:cxn ang="0">
                    <a:pos x="28" y="163"/>
                  </a:cxn>
                  <a:cxn ang="0">
                    <a:pos x="73" y="52"/>
                  </a:cxn>
                  <a:cxn ang="0">
                    <a:pos x="94" y="31"/>
                  </a:cxn>
                  <a:cxn ang="0">
                    <a:pos x="121" y="16"/>
                  </a:cxn>
                  <a:cxn ang="0">
                    <a:pos x="139" y="16"/>
                  </a:cxn>
                  <a:cxn ang="0">
                    <a:pos x="151" y="11"/>
                  </a:cxn>
                  <a:cxn ang="0">
                    <a:pos x="154" y="9"/>
                  </a:cxn>
                  <a:cxn ang="0">
                    <a:pos x="156" y="6"/>
                  </a:cxn>
                  <a:cxn ang="0">
                    <a:pos x="154" y="3"/>
                  </a:cxn>
                  <a:cxn ang="0">
                    <a:pos x="152" y="1"/>
                  </a:cxn>
                  <a:cxn ang="0">
                    <a:pos x="146" y="0"/>
                  </a:cxn>
                  <a:cxn ang="0">
                    <a:pos x="137" y="3"/>
                  </a:cxn>
                  <a:cxn ang="0">
                    <a:pos x="114" y="5"/>
                  </a:cxn>
                  <a:cxn ang="0">
                    <a:pos x="84" y="21"/>
                  </a:cxn>
                  <a:cxn ang="0">
                    <a:pos x="63" y="45"/>
                  </a:cxn>
                  <a:cxn ang="0">
                    <a:pos x="41" y="86"/>
                  </a:cxn>
                  <a:cxn ang="0">
                    <a:pos x="16" y="159"/>
                  </a:cxn>
                  <a:cxn ang="0">
                    <a:pos x="1" y="269"/>
                  </a:cxn>
                  <a:cxn ang="0">
                    <a:pos x="1" y="438"/>
                  </a:cxn>
                  <a:cxn ang="0">
                    <a:pos x="16" y="530"/>
                  </a:cxn>
                  <a:cxn ang="0">
                    <a:pos x="44" y="610"/>
                  </a:cxn>
                  <a:cxn ang="0">
                    <a:pos x="78" y="650"/>
                  </a:cxn>
                  <a:cxn ang="0">
                    <a:pos x="103" y="665"/>
                  </a:cxn>
                  <a:cxn ang="0">
                    <a:pos x="124" y="673"/>
                  </a:cxn>
                  <a:cxn ang="0">
                    <a:pos x="156" y="672"/>
                  </a:cxn>
                  <a:cxn ang="0">
                    <a:pos x="249" y="655"/>
                  </a:cxn>
                  <a:cxn ang="0">
                    <a:pos x="338" y="634"/>
                  </a:cxn>
                </a:cxnLst>
                <a:rect l="0" t="0" r="r" b="b"/>
                <a:pathLst>
                  <a:path w="451" h="673">
                    <a:moveTo>
                      <a:pt x="445" y="613"/>
                    </a:moveTo>
                    <a:lnTo>
                      <a:pt x="446" y="611"/>
                    </a:lnTo>
                    <a:lnTo>
                      <a:pt x="448" y="611"/>
                    </a:lnTo>
                    <a:lnTo>
                      <a:pt x="450" y="610"/>
                    </a:lnTo>
                    <a:lnTo>
                      <a:pt x="450" y="608"/>
                    </a:lnTo>
                    <a:lnTo>
                      <a:pt x="451" y="606"/>
                    </a:lnTo>
                    <a:lnTo>
                      <a:pt x="451" y="605"/>
                    </a:lnTo>
                    <a:lnTo>
                      <a:pt x="450" y="603"/>
                    </a:lnTo>
                    <a:lnTo>
                      <a:pt x="450" y="601"/>
                    </a:lnTo>
                    <a:lnTo>
                      <a:pt x="448" y="600"/>
                    </a:lnTo>
                    <a:lnTo>
                      <a:pt x="443" y="600"/>
                    </a:lnTo>
                    <a:lnTo>
                      <a:pt x="337" y="621"/>
                    </a:lnTo>
                    <a:lnTo>
                      <a:pt x="245" y="642"/>
                    </a:lnTo>
                    <a:lnTo>
                      <a:pt x="154" y="659"/>
                    </a:lnTo>
                    <a:lnTo>
                      <a:pt x="124" y="660"/>
                    </a:lnTo>
                    <a:lnTo>
                      <a:pt x="127" y="660"/>
                    </a:lnTo>
                    <a:lnTo>
                      <a:pt x="107" y="654"/>
                    </a:lnTo>
                    <a:lnTo>
                      <a:pt x="109" y="654"/>
                    </a:lnTo>
                    <a:lnTo>
                      <a:pt x="86" y="639"/>
                    </a:lnTo>
                    <a:lnTo>
                      <a:pt x="88" y="641"/>
                    </a:lnTo>
                    <a:lnTo>
                      <a:pt x="54" y="601"/>
                    </a:lnTo>
                    <a:lnTo>
                      <a:pt x="54" y="603"/>
                    </a:lnTo>
                    <a:lnTo>
                      <a:pt x="28" y="525"/>
                    </a:lnTo>
                    <a:lnTo>
                      <a:pt x="29" y="526"/>
                    </a:lnTo>
                    <a:lnTo>
                      <a:pt x="14" y="437"/>
                    </a:lnTo>
                    <a:lnTo>
                      <a:pt x="14" y="438"/>
                    </a:lnTo>
                    <a:lnTo>
                      <a:pt x="13" y="349"/>
                    </a:lnTo>
                    <a:lnTo>
                      <a:pt x="14" y="269"/>
                    </a:lnTo>
                    <a:lnTo>
                      <a:pt x="29" y="161"/>
                    </a:lnTo>
                    <a:lnTo>
                      <a:pt x="28" y="163"/>
                    </a:lnTo>
                    <a:lnTo>
                      <a:pt x="53" y="91"/>
                    </a:lnTo>
                    <a:lnTo>
                      <a:pt x="73" y="52"/>
                    </a:lnTo>
                    <a:lnTo>
                      <a:pt x="73" y="53"/>
                    </a:lnTo>
                    <a:lnTo>
                      <a:pt x="94" y="31"/>
                    </a:lnTo>
                    <a:lnTo>
                      <a:pt x="93" y="32"/>
                    </a:lnTo>
                    <a:lnTo>
                      <a:pt x="121" y="16"/>
                    </a:lnTo>
                    <a:lnTo>
                      <a:pt x="117" y="18"/>
                    </a:lnTo>
                    <a:lnTo>
                      <a:pt x="139" y="16"/>
                    </a:lnTo>
                    <a:lnTo>
                      <a:pt x="141" y="14"/>
                    </a:lnTo>
                    <a:lnTo>
                      <a:pt x="151" y="11"/>
                    </a:lnTo>
                    <a:lnTo>
                      <a:pt x="152" y="11"/>
                    </a:lnTo>
                    <a:lnTo>
                      <a:pt x="154" y="9"/>
                    </a:lnTo>
                    <a:lnTo>
                      <a:pt x="154" y="8"/>
                    </a:lnTo>
                    <a:lnTo>
                      <a:pt x="156" y="6"/>
                    </a:lnTo>
                    <a:lnTo>
                      <a:pt x="156" y="5"/>
                    </a:lnTo>
                    <a:lnTo>
                      <a:pt x="154" y="3"/>
                    </a:lnTo>
                    <a:lnTo>
                      <a:pt x="154" y="1"/>
                    </a:lnTo>
                    <a:lnTo>
                      <a:pt x="152" y="1"/>
                    </a:lnTo>
                    <a:lnTo>
                      <a:pt x="151" y="0"/>
                    </a:lnTo>
                    <a:lnTo>
                      <a:pt x="146" y="0"/>
                    </a:lnTo>
                    <a:lnTo>
                      <a:pt x="136" y="3"/>
                    </a:lnTo>
                    <a:lnTo>
                      <a:pt x="137" y="3"/>
                    </a:lnTo>
                    <a:lnTo>
                      <a:pt x="116" y="5"/>
                    </a:lnTo>
                    <a:lnTo>
                      <a:pt x="114" y="5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63" y="45"/>
                    </a:lnTo>
                    <a:lnTo>
                      <a:pt x="61" y="47"/>
                    </a:lnTo>
                    <a:lnTo>
                      <a:pt x="41" y="86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" y="267"/>
                    </a:lnTo>
                    <a:lnTo>
                      <a:pt x="1" y="269"/>
                    </a:lnTo>
                    <a:lnTo>
                      <a:pt x="0" y="349"/>
                    </a:lnTo>
                    <a:lnTo>
                      <a:pt x="1" y="438"/>
                    </a:lnTo>
                    <a:lnTo>
                      <a:pt x="16" y="528"/>
                    </a:lnTo>
                    <a:lnTo>
                      <a:pt x="16" y="530"/>
                    </a:lnTo>
                    <a:lnTo>
                      <a:pt x="43" y="608"/>
                    </a:lnTo>
                    <a:lnTo>
                      <a:pt x="44" y="610"/>
                    </a:lnTo>
                    <a:lnTo>
                      <a:pt x="78" y="649"/>
                    </a:lnTo>
                    <a:lnTo>
                      <a:pt x="78" y="650"/>
                    </a:lnTo>
                    <a:lnTo>
                      <a:pt x="101" y="665"/>
                    </a:lnTo>
                    <a:lnTo>
                      <a:pt x="103" y="665"/>
                    </a:lnTo>
                    <a:lnTo>
                      <a:pt x="122" y="672"/>
                    </a:lnTo>
                    <a:lnTo>
                      <a:pt x="124" y="673"/>
                    </a:lnTo>
                    <a:lnTo>
                      <a:pt x="126" y="673"/>
                    </a:lnTo>
                    <a:lnTo>
                      <a:pt x="156" y="672"/>
                    </a:lnTo>
                    <a:lnTo>
                      <a:pt x="247" y="655"/>
                    </a:lnTo>
                    <a:lnTo>
                      <a:pt x="249" y="655"/>
                    </a:lnTo>
                    <a:lnTo>
                      <a:pt x="340" y="634"/>
                    </a:lnTo>
                    <a:lnTo>
                      <a:pt x="338" y="634"/>
                    </a:lnTo>
                    <a:lnTo>
                      <a:pt x="445" y="6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Freeform 182">
                <a:extLst>
                  <a:ext uri="{FF2B5EF4-FFF2-40B4-BE49-F238E27FC236}">
                    <a16:creationId xmlns:a16="http://schemas.microsoft.com/office/drawing/2014/main" id="{7723B243-E417-493D-A9ED-C57406BE02A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642"/>
                <a:ext cx="764" cy="36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2" y="16"/>
                  </a:cxn>
                  <a:cxn ang="0">
                    <a:pos x="2" y="17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2" y="27"/>
                  </a:cxn>
                  <a:cxn ang="0">
                    <a:pos x="3" y="27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110" y="19"/>
                  </a:cxn>
                  <a:cxn ang="0">
                    <a:pos x="237" y="13"/>
                  </a:cxn>
                  <a:cxn ang="0">
                    <a:pos x="362" y="13"/>
                  </a:cxn>
                  <a:cxn ang="0">
                    <a:pos x="360" y="13"/>
                  </a:cxn>
                  <a:cxn ang="0">
                    <a:pos x="516" y="19"/>
                  </a:cxn>
                  <a:cxn ang="0">
                    <a:pos x="619" y="24"/>
                  </a:cxn>
                  <a:cxn ang="0">
                    <a:pos x="619" y="11"/>
                  </a:cxn>
                  <a:cxn ang="0">
                    <a:pos x="611" y="13"/>
                  </a:cxn>
                  <a:cxn ang="0">
                    <a:pos x="609" y="13"/>
                  </a:cxn>
                  <a:cxn ang="0">
                    <a:pos x="608" y="14"/>
                  </a:cxn>
                  <a:cxn ang="0">
                    <a:pos x="606" y="14"/>
                  </a:cxn>
                  <a:cxn ang="0">
                    <a:pos x="606" y="21"/>
                  </a:cxn>
                  <a:cxn ang="0">
                    <a:pos x="608" y="22"/>
                  </a:cxn>
                  <a:cxn ang="0">
                    <a:pos x="608" y="24"/>
                  </a:cxn>
                  <a:cxn ang="0">
                    <a:pos x="609" y="24"/>
                  </a:cxn>
                  <a:cxn ang="0">
                    <a:pos x="611" y="26"/>
                  </a:cxn>
                  <a:cxn ang="0">
                    <a:pos x="613" y="26"/>
                  </a:cxn>
                  <a:cxn ang="0">
                    <a:pos x="621" y="24"/>
                  </a:cxn>
                  <a:cxn ang="0">
                    <a:pos x="623" y="22"/>
                  </a:cxn>
                  <a:cxn ang="0">
                    <a:pos x="624" y="22"/>
                  </a:cxn>
                  <a:cxn ang="0">
                    <a:pos x="626" y="21"/>
                  </a:cxn>
                  <a:cxn ang="0">
                    <a:pos x="626" y="19"/>
                  </a:cxn>
                  <a:cxn ang="0">
                    <a:pos x="628" y="17"/>
                  </a:cxn>
                  <a:cxn ang="0">
                    <a:pos x="628" y="16"/>
                  </a:cxn>
                  <a:cxn ang="0">
                    <a:pos x="626" y="14"/>
                  </a:cxn>
                  <a:cxn ang="0">
                    <a:pos x="626" y="13"/>
                  </a:cxn>
                  <a:cxn ang="0">
                    <a:pos x="624" y="11"/>
                  </a:cxn>
                  <a:cxn ang="0">
                    <a:pos x="621" y="11"/>
                  </a:cxn>
                  <a:cxn ang="0">
                    <a:pos x="518" y="6"/>
                  </a:cxn>
                  <a:cxn ang="0">
                    <a:pos x="362" y="0"/>
                  </a:cxn>
                  <a:cxn ang="0">
                    <a:pos x="236" y="0"/>
                  </a:cxn>
                  <a:cxn ang="0">
                    <a:pos x="108" y="6"/>
                  </a:cxn>
                  <a:cxn ang="0">
                    <a:pos x="5" y="16"/>
                  </a:cxn>
                </a:cxnLst>
                <a:rect l="0" t="0" r="r" b="b"/>
                <a:pathLst>
                  <a:path w="628" h="29">
                    <a:moveTo>
                      <a:pt x="5" y="16"/>
                    </a:moveTo>
                    <a:lnTo>
                      <a:pt x="2" y="16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27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110" y="19"/>
                    </a:lnTo>
                    <a:lnTo>
                      <a:pt x="237" y="13"/>
                    </a:lnTo>
                    <a:lnTo>
                      <a:pt x="362" y="13"/>
                    </a:lnTo>
                    <a:lnTo>
                      <a:pt x="360" y="13"/>
                    </a:lnTo>
                    <a:lnTo>
                      <a:pt x="516" y="19"/>
                    </a:lnTo>
                    <a:lnTo>
                      <a:pt x="619" y="24"/>
                    </a:lnTo>
                    <a:lnTo>
                      <a:pt x="619" y="11"/>
                    </a:lnTo>
                    <a:lnTo>
                      <a:pt x="611" y="13"/>
                    </a:lnTo>
                    <a:lnTo>
                      <a:pt x="609" y="13"/>
                    </a:lnTo>
                    <a:lnTo>
                      <a:pt x="608" y="14"/>
                    </a:lnTo>
                    <a:lnTo>
                      <a:pt x="606" y="14"/>
                    </a:lnTo>
                    <a:lnTo>
                      <a:pt x="606" y="21"/>
                    </a:lnTo>
                    <a:lnTo>
                      <a:pt x="608" y="22"/>
                    </a:lnTo>
                    <a:lnTo>
                      <a:pt x="608" y="24"/>
                    </a:lnTo>
                    <a:lnTo>
                      <a:pt x="609" y="24"/>
                    </a:lnTo>
                    <a:lnTo>
                      <a:pt x="611" y="26"/>
                    </a:lnTo>
                    <a:lnTo>
                      <a:pt x="613" y="26"/>
                    </a:lnTo>
                    <a:lnTo>
                      <a:pt x="621" y="24"/>
                    </a:lnTo>
                    <a:lnTo>
                      <a:pt x="623" y="22"/>
                    </a:lnTo>
                    <a:lnTo>
                      <a:pt x="624" y="22"/>
                    </a:lnTo>
                    <a:lnTo>
                      <a:pt x="626" y="21"/>
                    </a:lnTo>
                    <a:lnTo>
                      <a:pt x="626" y="19"/>
                    </a:lnTo>
                    <a:lnTo>
                      <a:pt x="628" y="17"/>
                    </a:lnTo>
                    <a:lnTo>
                      <a:pt x="628" y="16"/>
                    </a:lnTo>
                    <a:lnTo>
                      <a:pt x="626" y="14"/>
                    </a:lnTo>
                    <a:lnTo>
                      <a:pt x="626" y="13"/>
                    </a:lnTo>
                    <a:lnTo>
                      <a:pt x="624" y="11"/>
                    </a:lnTo>
                    <a:lnTo>
                      <a:pt x="621" y="11"/>
                    </a:lnTo>
                    <a:lnTo>
                      <a:pt x="518" y="6"/>
                    </a:lnTo>
                    <a:lnTo>
                      <a:pt x="362" y="0"/>
                    </a:lnTo>
                    <a:lnTo>
                      <a:pt x="236" y="0"/>
                    </a:lnTo>
                    <a:lnTo>
                      <a:pt x="108" y="6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Freeform 183">
                <a:extLst>
                  <a:ext uri="{FF2B5EF4-FFF2-40B4-BE49-F238E27FC236}">
                    <a16:creationId xmlns:a16="http://schemas.microsoft.com/office/drawing/2014/main" id="{B9C9458F-0C2B-486D-9584-9A3E545A300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40" y="3061"/>
                <a:ext cx="95" cy="2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70" y="18"/>
                  </a:cxn>
                  <a:cxn ang="0">
                    <a:pos x="72" y="18"/>
                  </a:cxn>
                  <a:cxn ang="0">
                    <a:pos x="73" y="16"/>
                  </a:cxn>
                  <a:cxn ang="0">
                    <a:pos x="75" y="16"/>
                  </a:cxn>
                  <a:cxn ang="0">
                    <a:pos x="77" y="15"/>
                  </a:cxn>
                  <a:cxn ang="0">
                    <a:pos x="77" y="13"/>
                  </a:cxn>
                  <a:cxn ang="0">
                    <a:pos x="78" y="11"/>
                  </a:cxn>
                  <a:cxn ang="0">
                    <a:pos x="78" y="10"/>
                  </a:cxn>
                  <a:cxn ang="0">
                    <a:pos x="77" y="8"/>
                  </a:cxn>
                  <a:cxn ang="0">
                    <a:pos x="77" y="6"/>
                  </a:cxn>
                  <a:cxn ang="0">
                    <a:pos x="75" y="5"/>
                  </a:cxn>
                  <a:cxn ang="0">
                    <a:pos x="72" y="5"/>
                  </a:cxn>
                  <a:cxn ang="0">
                    <a:pos x="7" y="0"/>
                  </a:cxn>
                </a:cxnLst>
                <a:rect l="0" t="0" r="r" b="b"/>
                <a:pathLst>
                  <a:path w="78" h="18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70" y="18"/>
                    </a:lnTo>
                    <a:lnTo>
                      <a:pt x="72" y="18"/>
                    </a:lnTo>
                    <a:lnTo>
                      <a:pt x="73" y="16"/>
                    </a:lnTo>
                    <a:lnTo>
                      <a:pt x="75" y="16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78" y="11"/>
                    </a:lnTo>
                    <a:lnTo>
                      <a:pt x="78" y="10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5" y="5"/>
                    </a:lnTo>
                    <a:lnTo>
                      <a:pt x="72" y="5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Freeform 184">
                <a:extLst>
                  <a:ext uri="{FF2B5EF4-FFF2-40B4-BE49-F238E27FC236}">
                    <a16:creationId xmlns:a16="http://schemas.microsoft.com/office/drawing/2014/main" id="{8D2ECA2C-5268-45D3-AE64-1D60EBE4567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379"/>
                <a:ext cx="854" cy="65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63" y="23"/>
                  </a:cxn>
                  <a:cxn ang="0">
                    <a:pos x="120" y="28"/>
                  </a:cxn>
                  <a:cxn ang="0">
                    <a:pos x="198" y="34"/>
                  </a:cxn>
                  <a:cxn ang="0">
                    <a:pos x="200" y="34"/>
                  </a:cxn>
                  <a:cxn ang="0">
                    <a:pos x="297" y="36"/>
                  </a:cxn>
                  <a:cxn ang="0">
                    <a:pos x="409" y="38"/>
                  </a:cxn>
                  <a:cxn ang="0">
                    <a:pos x="525" y="38"/>
                  </a:cxn>
                  <a:cxn ang="0">
                    <a:pos x="621" y="34"/>
                  </a:cxn>
                  <a:cxn ang="0">
                    <a:pos x="689" y="33"/>
                  </a:cxn>
                  <a:cxn ang="0">
                    <a:pos x="683" y="26"/>
                  </a:cxn>
                  <a:cxn ang="0">
                    <a:pos x="686" y="132"/>
                  </a:cxn>
                  <a:cxn ang="0">
                    <a:pos x="689" y="243"/>
                  </a:cxn>
                  <a:cxn ang="0">
                    <a:pos x="686" y="375"/>
                  </a:cxn>
                  <a:cxn ang="0">
                    <a:pos x="686" y="374"/>
                  </a:cxn>
                  <a:cxn ang="0">
                    <a:pos x="683" y="470"/>
                  </a:cxn>
                  <a:cxn ang="0">
                    <a:pos x="678" y="532"/>
                  </a:cxn>
                  <a:cxn ang="0">
                    <a:pos x="678" y="535"/>
                  </a:cxn>
                  <a:cxn ang="0">
                    <a:pos x="679" y="537"/>
                  </a:cxn>
                  <a:cxn ang="0">
                    <a:pos x="679" y="538"/>
                  </a:cxn>
                  <a:cxn ang="0">
                    <a:pos x="681" y="538"/>
                  </a:cxn>
                  <a:cxn ang="0">
                    <a:pos x="683" y="540"/>
                  </a:cxn>
                  <a:cxn ang="0">
                    <a:pos x="684" y="540"/>
                  </a:cxn>
                  <a:cxn ang="0">
                    <a:pos x="686" y="538"/>
                  </a:cxn>
                  <a:cxn ang="0">
                    <a:pos x="688" y="538"/>
                  </a:cxn>
                  <a:cxn ang="0">
                    <a:pos x="689" y="537"/>
                  </a:cxn>
                  <a:cxn ang="0">
                    <a:pos x="689" y="535"/>
                  </a:cxn>
                  <a:cxn ang="0">
                    <a:pos x="691" y="533"/>
                  </a:cxn>
                  <a:cxn ang="0">
                    <a:pos x="696" y="471"/>
                  </a:cxn>
                  <a:cxn ang="0">
                    <a:pos x="699" y="375"/>
                  </a:cxn>
                  <a:cxn ang="0">
                    <a:pos x="703" y="243"/>
                  </a:cxn>
                  <a:cxn ang="0">
                    <a:pos x="699" y="132"/>
                  </a:cxn>
                  <a:cxn ang="0">
                    <a:pos x="699" y="131"/>
                  </a:cxn>
                  <a:cxn ang="0">
                    <a:pos x="696" y="25"/>
                  </a:cxn>
                  <a:cxn ang="0">
                    <a:pos x="693" y="21"/>
                  </a:cxn>
                  <a:cxn ang="0">
                    <a:pos x="693" y="20"/>
                  </a:cxn>
                  <a:cxn ang="0">
                    <a:pos x="689" y="20"/>
                  </a:cxn>
                  <a:cxn ang="0">
                    <a:pos x="621" y="21"/>
                  </a:cxn>
                  <a:cxn ang="0">
                    <a:pos x="620" y="21"/>
                  </a:cxn>
                  <a:cxn ang="0">
                    <a:pos x="523" y="25"/>
                  </a:cxn>
                  <a:cxn ang="0">
                    <a:pos x="525" y="25"/>
                  </a:cxn>
                  <a:cxn ang="0">
                    <a:pos x="409" y="25"/>
                  </a:cxn>
                  <a:cxn ang="0">
                    <a:pos x="297" y="23"/>
                  </a:cxn>
                  <a:cxn ang="0">
                    <a:pos x="200" y="21"/>
                  </a:cxn>
                  <a:cxn ang="0">
                    <a:pos x="121" y="15"/>
                  </a:cxn>
                  <a:cxn ang="0">
                    <a:pos x="65" y="10"/>
                  </a:cxn>
                  <a:cxn ang="0">
                    <a:pos x="7" y="0"/>
                  </a:cxn>
                </a:cxnLst>
                <a:rect l="0" t="0" r="r" b="b"/>
                <a:pathLst>
                  <a:path w="703" h="540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63" y="23"/>
                    </a:lnTo>
                    <a:lnTo>
                      <a:pt x="120" y="28"/>
                    </a:lnTo>
                    <a:lnTo>
                      <a:pt x="198" y="34"/>
                    </a:lnTo>
                    <a:lnTo>
                      <a:pt x="200" y="34"/>
                    </a:lnTo>
                    <a:lnTo>
                      <a:pt x="297" y="36"/>
                    </a:lnTo>
                    <a:lnTo>
                      <a:pt x="409" y="38"/>
                    </a:lnTo>
                    <a:lnTo>
                      <a:pt x="525" y="38"/>
                    </a:lnTo>
                    <a:lnTo>
                      <a:pt x="621" y="34"/>
                    </a:lnTo>
                    <a:lnTo>
                      <a:pt x="689" y="33"/>
                    </a:lnTo>
                    <a:lnTo>
                      <a:pt x="683" y="26"/>
                    </a:lnTo>
                    <a:lnTo>
                      <a:pt x="686" y="132"/>
                    </a:lnTo>
                    <a:lnTo>
                      <a:pt x="689" y="243"/>
                    </a:lnTo>
                    <a:lnTo>
                      <a:pt x="686" y="375"/>
                    </a:lnTo>
                    <a:lnTo>
                      <a:pt x="686" y="374"/>
                    </a:lnTo>
                    <a:lnTo>
                      <a:pt x="683" y="470"/>
                    </a:lnTo>
                    <a:lnTo>
                      <a:pt x="678" y="532"/>
                    </a:lnTo>
                    <a:lnTo>
                      <a:pt x="678" y="535"/>
                    </a:lnTo>
                    <a:lnTo>
                      <a:pt x="679" y="537"/>
                    </a:lnTo>
                    <a:lnTo>
                      <a:pt x="679" y="538"/>
                    </a:lnTo>
                    <a:lnTo>
                      <a:pt x="681" y="538"/>
                    </a:lnTo>
                    <a:lnTo>
                      <a:pt x="683" y="540"/>
                    </a:lnTo>
                    <a:lnTo>
                      <a:pt x="684" y="540"/>
                    </a:lnTo>
                    <a:lnTo>
                      <a:pt x="686" y="538"/>
                    </a:lnTo>
                    <a:lnTo>
                      <a:pt x="688" y="538"/>
                    </a:lnTo>
                    <a:lnTo>
                      <a:pt x="689" y="537"/>
                    </a:lnTo>
                    <a:lnTo>
                      <a:pt x="689" y="535"/>
                    </a:lnTo>
                    <a:lnTo>
                      <a:pt x="691" y="533"/>
                    </a:lnTo>
                    <a:lnTo>
                      <a:pt x="696" y="471"/>
                    </a:lnTo>
                    <a:lnTo>
                      <a:pt x="699" y="375"/>
                    </a:lnTo>
                    <a:lnTo>
                      <a:pt x="703" y="243"/>
                    </a:lnTo>
                    <a:lnTo>
                      <a:pt x="699" y="132"/>
                    </a:lnTo>
                    <a:lnTo>
                      <a:pt x="699" y="131"/>
                    </a:lnTo>
                    <a:lnTo>
                      <a:pt x="696" y="25"/>
                    </a:lnTo>
                    <a:lnTo>
                      <a:pt x="693" y="21"/>
                    </a:lnTo>
                    <a:lnTo>
                      <a:pt x="693" y="20"/>
                    </a:lnTo>
                    <a:lnTo>
                      <a:pt x="689" y="20"/>
                    </a:lnTo>
                    <a:lnTo>
                      <a:pt x="621" y="21"/>
                    </a:lnTo>
                    <a:lnTo>
                      <a:pt x="620" y="21"/>
                    </a:lnTo>
                    <a:lnTo>
                      <a:pt x="523" y="25"/>
                    </a:lnTo>
                    <a:lnTo>
                      <a:pt x="525" y="25"/>
                    </a:lnTo>
                    <a:lnTo>
                      <a:pt x="409" y="25"/>
                    </a:lnTo>
                    <a:lnTo>
                      <a:pt x="297" y="23"/>
                    </a:lnTo>
                    <a:lnTo>
                      <a:pt x="200" y="21"/>
                    </a:lnTo>
                    <a:lnTo>
                      <a:pt x="121" y="15"/>
                    </a:lnTo>
                    <a:lnTo>
                      <a:pt x="65" y="1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85">
                <a:extLst>
                  <a:ext uri="{FF2B5EF4-FFF2-40B4-BE49-F238E27FC236}">
                    <a16:creationId xmlns:a16="http://schemas.microsoft.com/office/drawing/2014/main" id="{19C43A5A-8111-433C-8604-00D6CDC716E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7" y="2820"/>
                <a:ext cx="57" cy="637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3" y="13"/>
                  </a:cxn>
                  <a:cxn ang="0">
                    <a:pos x="5" y="15"/>
                  </a:cxn>
                  <a:cxn ang="0">
                    <a:pos x="7" y="15"/>
                  </a:cxn>
                  <a:cxn ang="0">
                    <a:pos x="35" y="13"/>
                  </a:cxn>
                  <a:cxn ang="0">
                    <a:pos x="28" y="7"/>
                  </a:cxn>
                  <a:cxn ang="0">
                    <a:pos x="30" y="103"/>
                  </a:cxn>
                  <a:cxn ang="0">
                    <a:pos x="33" y="184"/>
                  </a:cxn>
                  <a:cxn ang="0">
                    <a:pos x="33" y="279"/>
                  </a:cxn>
                  <a:cxn ang="0">
                    <a:pos x="30" y="386"/>
                  </a:cxn>
                  <a:cxn ang="0">
                    <a:pos x="30" y="385"/>
                  </a:cxn>
                  <a:cxn ang="0">
                    <a:pos x="27" y="462"/>
                  </a:cxn>
                  <a:cxn ang="0">
                    <a:pos x="22" y="514"/>
                  </a:cxn>
                  <a:cxn ang="0">
                    <a:pos x="22" y="517"/>
                  </a:cxn>
                  <a:cxn ang="0">
                    <a:pos x="23" y="519"/>
                  </a:cxn>
                  <a:cxn ang="0">
                    <a:pos x="23" y="520"/>
                  </a:cxn>
                  <a:cxn ang="0">
                    <a:pos x="25" y="520"/>
                  </a:cxn>
                  <a:cxn ang="0">
                    <a:pos x="27" y="522"/>
                  </a:cxn>
                  <a:cxn ang="0">
                    <a:pos x="28" y="522"/>
                  </a:cxn>
                  <a:cxn ang="0">
                    <a:pos x="30" y="520"/>
                  </a:cxn>
                  <a:cxn ang="0">
                    <a:pos x="32" y="520"/>
                  </a:cxn>
                  <a:cxn ang="0">
                    <a:pos x="33" y="519"/>
                  </a:cxn>
                  <a:cxn ang="0">
                    <a:pos x="33" y="517"/>
                  </a:cxn>
                  <a:cxn ang="0">
                    <a:pos x="35" y="515"/>
                  </a:cxn>
                  <a:cxn ang="0">
                    <a:pos x="40" y="463"/>
                  </a:cxn>
                  <a:cxn ang="0">
                    <a:pos x="43" y="386"/>
                  </a:cxn>
                  <a:cxn ang="0">
                    <a:pos x="47" y="279"/>
                  </a:cxn>
                  <a:cxn ang="0">
                    <a:pos x="47" y="183"/>
                  </a:cxn>
                  <a:cxn ang="0">
                    <a:pos x="43" y="101"/>
                  </a:cxn>
                  <a:cxn ang="0">
                    <a:pos x="43" y="103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2"/>
                  </a:cxn>
                  <a:cxn ang="0">
                    <a:pos x="37" y="0"/>
                  </a:cxn>
                  <a:cxn ang="0">
                    <a:pos x="33" y="0"/>
                  </a:cxn>
                  <a:cxn ang="0">
                    <a:pos x="5" y="2"/>
                  </a:cxn>
                </a:cxnLst>
                <a:rect l="0" t="0" r="r" b="b"/>
                <a:pathLst>
                  <a:path w="47" h="522">
                    <a:moveTo>
                      <a:pt x="5" y="2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5" y="15"/>
                    </a:lnTo>
                    <a:lnTo>
                      <a:pt x="7" y="15"/>
                    </a:lnTo>
                    <a:lnTo>
                      <a:pt x="35" y="13"/>
                    </a:lnTo>
                    <a:lnTo>
                      <a:pt x="28" y="7"/>
                    </a:lnTo>
                    <a:lnTo>
                      <a:pt x="30" y="103"/>
                    </a:lnTo>
                    <a:lnTo>
                      <a:pt x="33" y="184"/>
                    </a:lnTo>
                    <a:lnTo>
                      <a:pt x="33" y="279"/>
                    </a:lnTo>
                    <a:lnTo>
                      <a:pt x="30" y="386"/>
                    </a:lnTo>
                    <a:lnTo>
                      <a:pt x="30" y="385"/>
                    </a:lnTo>
                    <a:lnTo>
                      <a:pt x="27" y="462"/>
                    </a:lnTo>
                    <a:lnTo>
                      <a:pt x="22" y="514"/>
                    </a:lnTo>
                    <a:lnTo>
                      <a:pt x="22" y="517"/>
                    </a:lnTo>
                    <a:lnTo>
                      <a:pt x="23" y="519"/>
                    </a:lnTo>
                    <a:lnTo>
                      <a:pt x="23" y="520"/>
                    </a:lnTo>
                    <a:lnTo>
                      <a:pt x="25" y="520"/>
                    </a:lnTo>
                    <a:lnTo>
                      <a:pt x="27" y="522"/>
                    </a:lnTo>
                    <a:lnTo>
                      <a:pt x="28" y="522"/>
                    </a:lnTo>
                    <a:lnTo>
                      <a:pt x="30" y="520"/>
                    </a:lnTo>
                    <a:lnTo>
                      <a:pt x="32" y="520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5" y="515"/>
                    </a:lnTo>
                    <a:lnTo>
                      <a:pt x="40" y="463"/>
                    </a:lnTo>
                    <a:lnTo>
                      <a:pt x="43" y="386"/>
                    </a:lnTo>
                    <a:lnTo>
                      <a:pt x="47" y="279"/>
                    </a:lnTo>
                    <a:lnTo>
                      <a:pt x="47" y="183"/>
                    </a:lnTo>
                    <a:lnTo>
                      <a:pt x="43" y="101"/>
                    </a:lnTo>
                    <a:lnTo>
                      <a:pt x="43" y="103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Freeform 186">
                <a:extLst>
                  <a:ext uri="{FF2B5EF4-FFF2-40B4-BE49-F238E27FC236}">
                    <a16:creationId xmlns:a16="http://schemas.microsoft.com/office/drawing/2014/main" id="{B26E7474-1612-46D5-B8C3-375F1162854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6" y="2977"/>
                <a:ext cx="468" cy="725"/>
              </a:xfrm>
              <a:custGeom>
                <a:avLst/>
                <a:gdLst/>
                <a:ahLst/>
                <a:cxnLst>
                  <a:cxn ang="0">
                    <a:pos x="3" y="540"/>
                  </a:cxn>
                  <a:cxn ang="0">
                    <a:pos x="0" y="550"/>
                  </a:cxn>
                  <a:cxn ang="0">
                    <a:pos x="3" y="551"/>
                  </a:cxn>
                  <a:cxn ang="0">
                    <a:pos x="6" y="553"/>
                  </a:cxn>
                  <a:cxn ang="0">
                    <a:pos x="30" y="553"/>
                  </a:cxn>
                  <a:cxn ang="0">
                    <a:pos x="157" y="571"/>
                  </a:cxn>
                  <a:cxn ang="0">
                    <a:pos x="269" y="589"/>
                  </a:cxn>
                  <a:cxn ang="0">
                    <a:pos x="302" y="594"/>
                  </a:cxn>
                  <a:cxn ang="0">
                    <a:pos x="305" y="592"/>
                  </a:cxn>
                  <a:cxn ang="0">
                    <a:pos x="327" y="559"/>
                  </a:cxn>
                  <a:cxn ang="0">
                    <a:pos x="345" y="514"/>
                  </a:cxn>
                  <a:cxn ang="0">
                    <a:pos x="362" y="471"/>
                  </a:cxn>
                  <a:cxn ang="0">
                    <a:pos x="382" y="369"/>
                  </a:cxn>
                  <a:cxn ang="0">
                    <a:pos x="385" y="284"/>
                  </a:cxn>
                  <a:cxn ang="0">
                    <a:pos x="368" y="140"/>
                  </a:cxn>
                  <a:cxn ang="0">
                    <a:pos x="348" y="78"/>
                  </a:cxn>
                  <a:cxn ang="0">
                    <a:pos x="325" y="26"/>
                  </a:cxn>
                  <a:cxn ang="0">
                    <a:pos x="309" y="2"/>
                  </a:cxn>
                  <a:cxn ang="0">
                    <a:pos x="305" y="0"/>
                  </a:cxn>
                  <a:cxn ang="0">
                    <a:pos x="244" y="8"/>
                  </a:cxn>
                  <a:cxn ang="0">
                    <a:pos x="99" y="26"/>
                  </a:cxn>
                  <a:cxn ang="0">
                    <a:pos x="33" y="31"/>
                  </a:cxn>
                  <a:cxn ang="0">
                    <a:pos x="31" y="34"/>
                  </a:cxn>
                  <a:cxn ang="0">
                    <a:pos x="33" y="42"/>
                  </a:cxn>
                  <a:cxn ang="0">
                    <a:pos x="36" y="44"/>
                  </a:cxn>
                  <a:cxn ang="0">
                    <a:pos x="101" y="39"/>
                  </a:cxn>
                  <a:cxn ang="0">
                    <a:pos x="245" y="21"/>
                  </a:cxn>
                  <a:cxn ang="0">
                    <a:pos x="297" y="10"/>
                  </a:cxn>
                  <a:cxn ang="0">
                    <a:pos x="314" y="31"/>
                  </a:cxn>
                  <a:cxn ang="0">
                    <a:pos x="355" y="144"/>
                  </a:cxn>
                  <a:cxn ang="0">
                    <a:pos x="368" y="223"/>
                  </a:cxn>
                  <a:cxn ang="0">
                    <a:pos x="372" y="284"/>
                  </a:cxn>
                  <a:cxn ang="0">
                    <a:pos x="357" y="431"/>
                  </a:cxn>
                  <a:cxn ang="0">
                    <a:pos x="348" y="468"/>
                  </a:cxn>
                  <a:cxn ang="0">
                    <a:pos x="315" y="553"/>
                  </a:cxn>
                  <a:cxn ang="0">
                    <a:pos x="295" y="582"/>
                  </a:cxn>
                  <a:cxn ang="0">
                    <a:pos x="270" y="576"/>
                  </a:cxn>
                  <a:cxn ang="0">
                    <a:pos x="159" y="558"/>
                  </a:cxn>
                  <a:cxn ang="0">
                    <a:pos x="31" y="540"/>
                  </a:cxn>
                </a:cxnLst>
                <a:rect l="0" t="0" r="r" b="b"/>
                <a:pathLst>
                  <a:path w="385" h="594">
                    <a:moveTo>
                      <a:pt x="6" y="540"/>
                    </a:moveTo>
                    <a:lnTo>
                      <a:pt x="3" y="540"/>
                    </a:lnTo>
                    <a:lnTo>
                      <a:pt x="0" y="543"/>
                    </a:lnTo>
                    <a:lnTo>
                      <a:pt x="0" y="550"/>
                    </a:lnTo>
                    <a:lnTo>
                      <a:pt x="1" y="550"/>
                    </a:lnTo>
                    <a:lnTo>
                      <a:pt x="3" y="551"/>
                    </a:lnTo>
                    <a:lnTo>
                      <a:pt x="5" y="551"/>
                    </a:lnTo>
                    <a:lnTo>
                      <a:pt x="6" y="553"/>
                    </a:lnTo>
                    <a:lnTo>
                      <a:pt x="31" y="553"/>
                    </a:lnTo>
                    <a:lnTo>
                      <a:pt x="30" y="553"/>
                    </a:lnTo>
                    <a:lnTo>
                      <a:pt x="94" y="561"/>
                    </a:lnTo>
                    <a:lnTo>
                      <a:pt x="157" y="571"/>
                    </a:lnTo>
                    <a:lnTo>
                      <a:pt x="207" y="579"/>
                    </a:lnTo>
                    <a:lnTo>
                      <a:pt x="269" y="589"/>
                    </a:lnTo>
                    <a:lnTo>
                      <a:pt x="300" y="594"/>
                    </a:lnTo>
                    <a:lnTo>
                      <a:pt x="302" y="594"/>
                    </a:lnTo>
                    <a:lnTo>
                      <a:pt x="304" y="592"/>
                    </a:lnTo>
                    <a:lnTo>
                      <a:pt x="305" y="592"/>
                    </a:lnTo>
                    <a:lnTo>
                      <a:pt x="307" y="590"/>
                    </a:lnTo>
                    <a:lnTo>
                      <a:pt x="327" y="559"/>
                    </a:lnTo>
                    <a:lnTo>
                      <a:pt x="327" y="558"/>
                    </a:lnTo>
                    <a:lnTo>
                      <a:pt x="345" y="514"/>
                    </a:lnTo>
                    <a:lnTo>
                      <a:pt x="360" y="473"/>
                    </a:lnTo>
                    <a:lnTo>
                      <a:pt x="362" y="471"/>
                    </a:lnTo>
                    <a:lnTo>
                      <a:pt x="370" y="432"/>
                    </a:lnTo>
                    <a:lnTo>
                      <a:pt x="382" y="369"/>
                    </a:lnTo>
                    <a:lnTo>
                      <a:pt x="385" y="285"/>
                    </a:lnTo>
                    <a:lnTo>
                      <a:pt x="385" y="284"/>
                    </a:lnTo>
                    <a:lnTo>
                      <a:pt x="382" y="222"/>
                    </a:lnTo>
                    <a:lnTo>
                      <a:pt x="368" y="140"/>
                    </a:lnTo>
                    <a:lnTo>
                      <a:pt x="367" y="140"/>
                    </a:lnTo>
                    <a:lnTo>
                      <a:pt x="348" y="78"/>
                    </a:lnTo>
                    <a:lnTo>
                      <a:pt x="348" y="77"/>
                    </a:lnTo>
                    <a:lnTo>
                      <a:pt x="325" y="26"/>
                    </a:lnTo>
                    <a:lnTo>
                      <a:pt x="325" y="24"/>
                    </a:lnTo>
                    <a:lnTo>
                      <a:pt x="309" y="2"/>
                    </a:lnTo>
                    <a:lnTo>
                      <a:pt x="307" y="2"/>
                    </a:lnTo>
                    <a:lnTo>
                      <a:pt x="305" y="0"/>
                    </a:lnTo>
                    <a:lnTo>
                      <a:pt x="302" y="0"/>
                    </a:lnTo>
                    <a:lnTo>
                      <a:pt x="244" y="8"/>
                    </a:lnTo>
                    <a:lnTo>
                      <a:pt x="169" y="18"/>
                    </a:lnTo>
                    <a:lnTo>
                      <a:pt x="99" y="26"/>
                    </a:lnTo>
                    <a:lnTo>
                      <a:pt x="36" y="31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3" y="42"/>
                    </a:lnTo>
                    <a:lnTo>
                      <a:pt x="35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101" y="39"/>
                    </a:lnTo>
                    <a:lnTo>
                      <a:pt x="171" y="31"/>
                    </a:lnTo>
                    <a:lnTo>
                      <a:pt x="245" y="21"/>
                    </a:lnTo>
                    <a:lnTo>
                      <a:pt x="304" y="13"/>
                    </a:lnTo>
                    <a:lnTo>
                      <a:pt x="297" y="10"/>
                    </a:lnTo>
                    <a:lnTo>
                      <a:pt x="314" y="33"/>
                    </a:lnTo>
                    <a:lnTo>
                      <a:pt x="314" y="31"/>
                    </a:lnTo>
                    <a:lnTo>
                      <a:pt x="337" y="82"/>
                    </a:lnTo>
                    <a:lnTo>
                      <a:pt x="355" y="144"/>
                    </a:lnTo>
                    <a:lnTo>
                      <a:pt x="355" y="142"/>
                    </a:lnTo>
                    <a:lnTo>
                      <a:pt x="368" y="223"/>
                    </a:lnTo>
                    <a:lnTo>
                      <a:pt x="372" y="285"/>
                    </a:lnTo>
                    <a:lnTo>
                      <a:pt x="372" y="284"/>
                    </a:lnTo>
                    <a:lnTo>
                      <a:pt x="368" y="367"/>
                    </a:lnTo>
                    <a:lnTo>
                      <a:pt x="357" y="431"/>
                    </a:lnTo>
                    <a:lnTo>
                      <a:pt x="348" y="470"/>
                    </a:lnTo>
                    <a:lnTo>
                      <a:pt x="348" y="468"/>
                    </a:lnTo>
                    <a:lnTo>
                      <a:pt x="333" y="509"/>
                    </a:lnTo>
                    <a:lnTo>
                      <a:pt x="315" y="553"/>
                    </a:lnTo>
                    <a:lnTo>
                      <a:pt x="315" y="551"/>
                    </a:lnTo>
                    <a:lnTo>
                      <a:pt x="295" y="582"/>
                    </a:lnTo>
                    <a:lnTo>
                      <a:pt x="302" y="581"/>
                    </a:lnTo>
                    <a:lnTo>
                      <a:pt x="270" y="576"/>
                    </a:lnTo>
                    <a:lnTo>
                      <a:pt x="209" y="566"/>
                    </a:lnTo>
                    <a:lnTo>
                      <a:pt x="159" y="558"/>
                    </a:lnTo>
                    <a:lnTo>
                      <a:pt x="96" y="548"/>
                    </a:lnTo>
                    <a:lnTo>
                      <a:pt x="31" y="540"/>
                    </a:lnTo>
                    <a:lnTo>
                      <a:pt x="6" y="54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" name="Freeform 187">
                <a:extLst>
                  <a:ext uri="{FF2B5EF4-FFF2-40B4-BE49-F238E27FC236}">
                    <a16:creationId xmlns:a16="http://schemas.microsoft.com/office/drawing/2014/main" id="{933EA23F-8CA4-49A3-9CDD-6130DC69FC4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30" y="2364"/>
                <a:ext cx="1546" cy="1033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10"/>
                  </a:cxn>
                  <a:cxn ang="0">
                    <a:pos x="14" y="11"/>
                  </a:cxn>
                  <a:cxn ang="0">
                    <a:pos x="17" y="13"/>
                  </a:cxn>
                  <a:cxn ang="0">
                    <a:pos x="376" y="18"/>
                  </a:cxn>
                  <a:cxn ang="0">
                    <a:pos x="711" y="24"/>
                  </a:cxn>
                  <a:cxn ang="0">
                    <a:pos x="937" y="24"/>
                  </a:cxn>
                  <a:cxn ang="0">
                    <a:pos x="1095" y="41"/>
                  </a:cxn>
                  <a:cxn ang="0">
                    <a:pos x="1158" y="55"/>
                  </a:cxn>
                  <a:cxn ang="0">
                    <a:pos x="1189" y="73"/>
                  </a:cxn>
                  <a:cxn ang="0">
                    <a:pos x="1208" y="91"/>
                  </a:cxn>
                  <a:cxn ang="0">
                    <a:pos x="1223" y="126"/>
                  </a:cxn>
                  <a:cxn ang="0">
                    <a:pos x="1236" y="176"/>
                  </a:cxn>
                  <a:cxn ang="0">
                    <a:pos x="1259" y="385"/>
                  </a:cxn>
                  <a:cxn ang="0">
                    <a:pos x="1259" y="437"/>
                  </a:cxn>
                  <a:cxn ang="0">
                    <a:pos x="1244" y="620"/>
                  </a:cxn>
                  <a:cxn ang="0">
                    <a:pos x="1214" y="750"/>
                  </a:cxn>
                  <a:cxn ang="0">
                    <a:pos x="1203" y="773"/>
                  </a:cxn>
                  <a:cxn ang="0">
                    <a:pos x="1183" y="794"/>
                  </a:cxn>
                  <a:cxn ang="0">
                    <a:pos x="1161" y="806"/>
                  </a:cxn>
                  <a:cxn ang="0">
                    <a:pos x="1128" y="815"/>
                  </a:cxn>
                  <a:cxn ang="0">
                    <a:pos x="990" y="832"/>
                  </a:cxn>
                  <a:cxn ang="0">
                    <a:pos x="856" y="833"/>
                  </a:cxn>
                  <a:cxn ang="0">
                    <a:pos x="704" y="828"/>
                  </a:cxn>
                  <a:cxn ang="0">
                    <a:pos x="198" y="827"/>
                  </a:cxn>
                  <a:cxn ang="0">
                    <a:pos x="4" y="820"/>
                  </a:cxn>
                  <a:cxn ang="0">
                    <a:pos x="0" y="830"/>
                  </a:cxn>
                  <a:cxn ang="0">
                    <a:pos x="4" y="832"/>
                  </a:cxn>
                  <a:cxn ang="0">
                    <a:pos x="7" y="833"/>
                  </a:cxn>
                  <a:cxn ang="0">
                    <a:pos x="72" y="833"/>
                  </a:cxn>
                  <a:cxn ang="0">
                    <a:pos x="494" y="840"/>
                  </a:cxn>
                  <a:cxn ang="0">
                    <a:pos x="703" y="842"/>
                  </a:cxn>
                  <a:cxn ang="0">
                    <a:pos x="856" y="846"/>
                  </a:cxn>
                  <a:cxn ang="0">
                    <a:pos x="1075" y="840"/>
                  </a:cxn>
                  <a:cxn ang="0">
                    <a:pos x="1131" y="827"/>
                  </a:cxn>
                  <a:cxn ang="0">
                    <a:pos x="1168" y="817"/>
                  </a:cxn>
                  <a:cxn ang="0">
                    <a:pos x="1193" y="802"/>
                  </a:cxn>
                  <a:cxn ang="0">
                    <a:pos x="1214" y="778"/>
                  </a:cxn>
                  <a:cxn ang="0">
                    <a:pos x="1242" y="696"/>
                  </a:cxn>
                  <a:cxn ang="0">
                    <a:pos x="1257" y="621"/>
                  </a:cxn>
                  <a:cxn ang="0">
                    <a:pos x="1272" y="439"/>
                  </a:cxn>
                  <a:cxn ang="0">
                    <a:pos x="1261" y="235"/>
                  </a:cxn>
                  <a:cxn ang="0">
                    <a:pos x="1236" y="122"/>
                  </a:cxn>
                  <a:cxn ang="0">
                    <a:pos x="1218" y="85"/>
                  </a:cxn>
                  <a:cxn ang="0">
                    <a:pos x="1196" y="62"/>
                  </a:cxn>
                  <a:cxn ang="0">
                    <a:pos x="1161" y="44"/>
                  </a:cxn>
                  <a:cxn ang="0">
                    <a:pos x="1096" y="28"/>
                  </a:cxn>
                  <a:cxn ang="0">
                    <a:pos x="939" y="11"/>
                  </a:cxn>
                  <a:cxn ang="0">
                    <a:pos x="552" y="8"/>
                  </a:cxn>
                  <a:cxn ang="0">
                    <a:pos x="173" y="3"/>
                  </a:cxn>
                </a:cxnLst>
                <a:rect l="0" t="0" r="r" b="b"/>
                <a:pathLst>
                  <a:path w="1272" h="846">
                    <a:moveTo>
                      <a:pt x="17" y="0"/>
                    </a:moveTo>
                    <a:lnTo>
                      <a:pt x="14" y="0"/>
                    </a:lnTo>
                    <a:lnTo>
                      <a:pt x="10" y="3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3"/>
                    </a:lnTo>
                    <a:lnTo>
                      <a:pt x="173" y="16"/>
                    </a:lnTo>
                    <a:lnTo>
                      <a:pt x="376" y="18"/>
                    </a:lnTo>
                    <a:lnTo>
                      <a:pt x="552" y="21"/>
                    </a:lnTo>
                    <a:lnTo>
                      <a:pt x="711" y="24"/>
                    </a:lnTo>
                    <a:lnTo>
                      <a:pt x="939" y="24"/>
                    </a:lnTo>
                    <a:lnTo>
                      <a:pt x="937" y="24"/>
                    </a:lnTo>
                    <a:lnTo>
                      <a:pt x="1035" y="31"/>
                    </a:lnTo>
                    <a:lnTo>
                      <a:pt x="1095" y="41"/>
                    </a:lnTo>
                    <a:lnTo>
                      <a:pt x="1095" y="39"/>
                    </a:lnTo>
                    <a:lnTo>
                      <a:pt x="1158" y="55"/>
                    </a:lnTo>
                    <a:lnTo>
                      <a:pt x="1156" y="55"/>
                    </a:lnTo>
                    <a:lnTo>
                      <a:pt x="1189" y="73"/>
                    </a:lnTo>
                    <a:lnTo>
                      <a:pt x="1188" y="72"/>
                    </a:lnTo>
                    <a:lnTo>
                      <a:pt x="1208" y="91"/>
                    </a:lnTo>
                    <a:lnTo>
                      <a:pt x="1206" y="90"/>
                    </a:lnTo>
                    <a:lnTo>
                      <a:pt x="1223" y="126"/>
                    </a:lnTo>
                    <a:lnTo>
                      <a:pt x="1236" y="178"/>
                    </a:lnTo>
                    <a:lnTo>
                      <a:pt x="1236" y="176"/>
                    </a:lnTo>
                    <a:lnTo>
                      <a:pt x="1247" y="236"/>
                    </a:lnTo>
                    <a:lnTo>
                      <a:pt x="1259" y="385"/>
                    </a:lnTo>
                    <a:lnTo>
                      <a:pt x="1259" y="439"/>
                    </a:lnTo>
                    <a:lnTo>
                      <a:pt x="1259" y="437"/>
                    </a:lnTo>
                    <a:lnTo>
                      <a:pt x="1252" y="546"/>
                    </a:lnTo>
                    <a:lnTo>
                      <a:pt x="1244" y="620"/>
                    </a:lnTo>
                    <a:lnTo>
                      <a:pt x="1231" y="693"/>
                    </a:lnTo>
                    <a:lnTo>
                      <a:pt x="1214" y="750"/>
                    </a:lnTo>
                    <a:lnTo>
                      <a:pt x="1214" y="749"/>
                    </a:lnTo>
                    <a:lnTo>
                      <a:pt x="1203" y="773"/>
                    </a:lnTo>
                    <a:lnTo>
                      <a:pt x="1204" y="771"/>
                    </a:lnTo>
                    <a:lnTo>
                      <a:pt x="1183" y="794"/>
                    </a:lnTo>
                    <a:lnTo>
                      <a:pt x="1184" y="793"/>
                    </a:lnTo>
                    <a:lnTo>
                      <a:pt x="1161" y="806"/>
                    </a:lnTo>
                    <a:lnTo>
                      <a:pt x="1163" y="806"/>
                    </a:lnTo>
                    <a:lnTo>
                      <a:pt x="1128" y="815"/>
                    </a:lnTo>
                    <a:lnTo>
                      <a:pt x="1073" y="827"/>
                    </a:lnTo>
                    <a:lnTo>
                      <a:pt x="990" y="832"/>
                    </a:lnTo>
                    <a:lnTo>
                      <a:pt x="992" y="832"/>
                    </a:lnTo>
                    <a:lnTo>
                      <a:pt x="856" y="833"/>
                    </a:lnTo>
                    <a:lnTo>
                      <a:pt x="789" y="833"/>
                    </a:lnTo>
                    <a:lnTo>
                      <a:pt x="704" y="828"/>
                    </a:lnTo>
                    <a:lnTo>
                      <a:pt x="494" y="827"/>
                    </a:lnTo>
                    <a:lnTo>
                      <a:pt x="198" y="827"/>
                    </a:lnTo>
                    <a:lnTo>
                      <a:pt x="74" y="820"/>
                    </a:lnTo>
                    <a:lnTo>
                      <a:pt x="4" y="820"/>
                    </a:lnTo>
                    <a:lnTo>
                      <a:pt x="0" y="824"/>
                    </a:lnTo>
                    <a:lnTo>
                      <a:pt x="0" y="830"/>
                    </a:lnTo>
                    <a:lnTo>
                      <a:pt x="2" y="830"/>
                    </a:lnTo>
                    <a:lnTo>
                      <a:pt x="4" y="832"/>
                    </a:lnTo>
                    <a:lnTo>
                      <a:pt x="5" y="832"/>
                    </a:lnTo>
                    <a:lnTo>
                      <a:pt x="7" y="833"/>
                    </a:lnTo>
                    <a:lnTo>
                      <a:pt x="74" y="833"/>
                    </a:lnTo>
                    <a:lnTo>
                      <a:pt x="72" y="833"/>
                    </a:lnTo>
                    <a:lnTo>
                      <a:pt x="196" y="840"/>
                    </a:lnTo>
                    <a:lnTo>
                      <a:pt x="494" y="840"/>
                    </a:lnTo>
                    <a:lnTo>
                      <a:pt x="704" y="842"/>
                    </a:lnTo>
                    <a:lnTo>
                      <a:pt x="703" y="842"/>
                    </a:lnTo>
                    <a:lnTo>
                      <a:pt x="788" y="846"/>
                    </a:lnTo>
                    <a:lnTo>
                      <a:pt x="856" y="846"/>
                    </a:lnTo>
                    <a:lnTo>
                      <a:pt x="992" y="845"/>
                    </a:lnTo>
                    <a:lnTo>
                      <a:pt x="1075" y="840"/>
                    </a:lnTo>
                    <a:lnTo>
                      <a:pt x="1130" y="828"/>
                    </a:lnTo>
                    <a:lnTo>
                      <a:pt x="1131" y="827"/>
                    </a:lnTo>
                    <a:lnTo>
                      <a:pt x="1166" y="817"/>
                    </a:lnTo>
                    <a:lnTo>
                      <a:pt x="1168" y="817"/>
                    </a:lnTo>
                    <a:lnTo>
                      <a:pt x="1191" y="804"/>
                    </a:lnTo>
                    <a:lnTo>
                      <a:pt x="1193" y="802"/>
                    </a:lnTo>
                    <a:lnTo>
                      <a:pt x="1214" y="780"/>
                    </a:lnTo>
                    <a:lnTo>
                      <a:pt x="1214" y="778"/>
                    </a:lnTo>
                    <a:lnTo>
                      <a:pt x="1226" y="753"/>
                    </a:lnTo>
                    <a:lnTo>
                      <a:pt x="1242" y="696"/>
                    </a:lnTo>
                    <a:lnTo>
                      <a:pt x="1244" y="695"/>
                    </a:lnTo>
                    <a:lnTo>
                      <a:pt x="1257" y="621"/>
                    </a:lnTo>
                    <a:lnTo>
                      <a:pt x="1266" y="548"/>
                    </a:lnTo>
                    <a:lnTo>
                      <a:pt x="1272" y="439"/>
                    </a:lnTo>
                    <a:lnTo>
                      <a:pt x="1272" y="383"/>
                    </a:lnTo>
                    <a:lnTo>
                      <a:pt x="1261" y="235"/>
                    </a:lnTo>
                    <a:lnTo>
                      <a:pt x="1249" y="175"/>
                    </a:lnTo>
                    <a:lnTo>
                      <a:pt x="1236" y="122"/>
                    </a:lnTo>
                    <a:lnTo>
                      <a:pt x="1234" y="121"/>
                    </a:lnTo>
                    <a:lnTo>
                      <a:pt x="1218" y="85"/>
                    </a:lnTo>
                    <a:lnTo>
                      <a:pt x="1196" y="64"/>
                    </a:lnTo>
                    <a:lnTo>
                      <a:pt x="1196" y="62"/>
                    </a:lnTo>
                    <a:lnTo>
                      <a:pt x="1163" y="44"/>
                    </a:lnTo>
                    <a:lnTo>
                      <a:pt x="1161" y="44"/>
                    </a:lnTo>
                    <a:lnTo>
                      <a:pt x="1098" y="28"/>
                    </a:lnTo>
                    <a:lnTo>
                      <a:pt x="1096" y="28"/>
                    </a:lnTo>
                    <a:lnTo>
                      <a:pt x="1037" y="18"/>
                    </a:lnTo>
                    <a:lnTo>
                      <a:pt x="939" y="11"/>
                    </a:lnTo>
                    <a:lnTo>
                      <a:pt x="711" y="11"/>
                    </a:lnTo>
                    <a:lnTo>
                      <a:pt x="552" y="8"/>
                    </a:lnTo>
                    <a:lnTo>
                      <a:pt x="376" y="5"/>
                    </a:lnTo>
                    <a:lnTo>
                      <a:pt x="173" y="3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Freeform 188">
                <a:extLst>
                  <a:ext uri="{FF2B5EF4-FFF2-40B4-BE49-F238E27FC236}">
                    <a16:creationId xmlns:a16="http://schemas.microsoft.com/office/drawing/2014/main" id="{B4EC4101-642D-452D-B04C-021776405D3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3182"/>
                <a:ext cx="164" cy="727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0"/>
                  </a:cxn>
                  <a:cxn ang="0">
                    <a:pos x="7" y="3"/>
                  </a:cxn>
                  <a:cxn ang="0">
                    <a:pos x="7" y="10"/>
                  </a:cxn>
                  <a:cxn ang="0">
                    <a:pos x="9" y="10"/>
                  </a:cxn>
                  <a:cxn ang="0">
                    <a:pos x="10" y="11"/>
                  </a:cxn>
                  <a:cxn ang="0">
                    <a:pos x="12" y="11"/>
                  </a:cxn>
                  <a:cxn ang="0">
                    <a:pos x="14" y="13"/>
                  </a:cxn>
                  <a:cxn ang="0">
                    <a:pos x="58" y="13"/>
                  </a:cxn>
                  <a:cxn ang="0">
                    <a:pos x="57" y="13"/>
                  </a:cxn>
                  <a:cxn ang="0">
                    <a:pos x="92" y="18"/>
                  </a:cxn>
                  <a:cxn ang="0">
                    <a:pos x="87" y="13"/>
                  </a:cxn>
                  <a:cxn ang="0">
                    <a:pos x="102" y="59"/>
                  </a:cxn>
                  <a:cxn ang="0">
                    <a:pos x="102" y="57"/>
                  </a:cxn>
                  <a:cxn ang="0">
                    <a:pos x="108" y="99"/>
                  </a:cxn>
                  <a:cxn ang="0">
                    <a:pos x="115" y="170"/>
                  </a:cxn>
                  <a:cxn ang="0">
                    <a:pos x="122" y="241"/>
                  </a:cxn>
                  <a:cxn ang="0">
                    <a:pos x="120" y="370"/>
                  </a:cxn>
                  <a:cxn ang="0">
                    <a:pos x="120" y="369"/>
                  </a:cxn>
                  <a:cxn ang="0">
                    <a:pos x="112" y="450"/>
                  </a:cxn>
                  <a:cxn ang="0">
                    <a:pos x="98" y="528"/>
                  </a:cxn>
                  <a:cxn ang="0">
                    <a:pos x="90" y="566"/>
                  </a:cxn>
                  <a:cxn ang="0">
                    <a:pos x="85" y="584"/>
                  </a:cxn>
                  <a:cxn ang="0">
                    <a:pos x="90" y="579"/>
                  </a:cxn>
                  <a:cxn ang="0">
                    <a:pos x="73" y="582"/>
                  </a:cxn>
                  <a:cxn ang="0">
                    <a:pos x="75" y="582"/>
                  </a:cxn>
                  <a:cxn ang="0">
                    <a:pos x="4" y="582"/>
                  </a:cxn>
                  <a:cxn ang="0">
                    <a:pos x="0" y="585"/>
                  </a:cxn>
                  <a:cxn ang="0">
                    <a:pos x="0" y="592"/>
                  </a:cxn>
                  <a:cxn ang="0">
                    <a:pos x="2" y="592"/>
                  </a:cxn>
                  <a:cxn ang="0">
                    <a:pos x="4" y="594"/>
                  </a:cxn>
                  <a:cxn ang="0">
                    <a:pos x="5" y="594"/>
                  </a:cxn>
                  <a:cxn ang="0">
                    <a:pos x="7" y="595"/>
                  </a:cxn>
                  <a:cxn ang="0">
                    <a:pos x="75" y="595"/>
                  </a:cxn>
                  <a:cxn ang="0">
                    <a:pos x="92" y="592"/>
                  </a:cxn>
                  <a:cxn ang="0">
                    <a:pos x="93" y="590"/>
                  </a:cxn>
                  <a:cxn ang="0">
                    <a:pos x="95" y="590"/>
                  </a:cxn>
                  <a:cxn ang="0">
                    <a:pos x="95" y="589"/>
                  </a:cxn>
                  <a:cxn ang="0">
                    <a:pos x="97" y="589"/>
                  </a:cxn>
                  <a:cxn ang="0">
                    <a:pos x="97" y="587"/>
                  </a:cxn>
                  <a:cxn ang="0">
                    <a:pos x="102" y="569"/>
                  </a:cxn>
                  <a:cxn ang="0">
                    <a:pos x="103" y="568"/>
                  </a:cxn>
                  <a:cxn ang="0">
                    <a:pos x="112" y="530"/>
                  </a:cxn>
                  <a:cxn ang="0">
                    <a:pos x="125" y="452"/>
                  </a:cxn>
                  <a:cxn ang="0">
                    <a:pos x="133" y="370"/>
                  </a:cxn>
                  <a:cxn ang="0">
                    <a:pos x="135" y="241"/>
                  </a:cxn>
                  <a:cxn ang="0">
                    <a:pos x="135" y="240"/>
                  </a:cxn>
                  <a:cxn ang="0">
                    <a:pos x="128" y="168"/>
                  </a:cxn>
                  <a:cxn ang="0">
                    <a:pos x="122" y="98"/>
                  </a:cxn>
                  <a:cxn ang="0">
                    <a:pos x="115" y="55"/>
                  </a:cxn>
                  <a:cxn ang="0">
                    <a:pos x="113" y="54"/>
                  </a:cxn>
                  <a:cxn ang="0">
                    <a:pos x="98" y="8"/>
                  </a:cxn>
                  <a:cxn ang="0">
                    <a:pos x="98" y="7"/>
                  </a:cxn>
                  <a:cxn ang="0">
                    <a:pos x="97" y="5"/>
                  </a:cxn>
                  <a:cxn ang="0">
                    <a:pos x="93" y="5"/>
                  </a:cxn>
                  <a:cxn ang="0">
                    <a:pos x="58" y="0"/>
                  </a:cxn>
                  <a:cxn ang="0">
                    <a:pos x="14" y="0"/>
                  </a:cxn>
                </a:cxnLst>
                <a:rect l="0" t="0" r="r" b="b"/>
                <a:pathLst>
                  <a:path w="135" h="595">
                    <a:moveTo>
                      <a:pt x="14" y="0"/>
                    </a:moveTo>
                    <a:lnTo>
                      <a:pt x="10" y="0"/>
                    </a:lnTo>
                    <a:lnTo>
                      <a:pt x="7" y="3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4" y="13"/>
                    </a:lnTo>
                    <a:lnTo>
                      <a:pt x="58" y="13"/>
                    </a:lnTo>
                    <a:lnTo>
                      <a:pt x="57" y="13"/>
                    </a:lnTo>
                    <a:lnTo>
                      <a:pt x="92" y="18"/>
                    </a:lnTo>
                    <a:lnTo>
                      <a:pt x="87" y="13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8" y="99"/>
                    </a:lnTo>
                    <a:lnTo>
                      <a:pt x="115" y="170"/>
                    </a:lnTo>
                    <a:lnTo>
                      <a:pt x="122" y="241"/>
                    </a:lnTo>
                    <a:lnTo>
                      <a:pt x="120" y="370"/>
                    </a:lnTo>
                    <a:lnTo>
                      <a:pt x="120" y="369"/>
                    </a:lnTo>
                    <a:lnTo>
                      <a:pt x="112" y="450"/>
                    </a:lnTo>
                    <a:lnTo>
                      <a:pt x="98" y="528"/>
                    </a:lnTo>
                    <a:lnTo>
                      <a:pt x="90" y="566"/>
                    </a:lnTo>
                    <a:lnTo>
                      <a:pt x="85" y="584"/>
                    </a:lnTo>
                    <a:lnTo>
                      <a:pt x="90" y="579"/>
                    </a:lnTo>
                    <a:lnTo>
                      <a:pt x="73" y="582"/>
                    </a:lnTo>
                    <a:lnTo>
                      <a:pt x="75" y="582"/>
                    </a:lnTo>
                    <a:lnTo>
                      <a:pt x="4" y="582"/>
                    </a:lnTo>
                    <a:lnTo>
                      <a:pt x="0" y="585"/>
                    </a:lnTo>
                    <a:lnTo>
                      <a:pt x="0" y="592"/>
                    </a:lnTo>
                    <a:lnTo>
                      <a:pt x="2" y="592"/>
                    </a:lnTo>
                    <a:lnTo>
                      <a:pt x="4" y="594"/>
                    </a:lnTo>
                    <a:lnTo>
                      <a:pt x="5" y="594"/>
                    </a:lnTo>
                    <a:lnTo>
                      <a:pt x="7" y="595"/>
                    </a:lnTo>
                    <a:lnTo>
                      <a:pt x="75" y="595"/>
                    </a:lnTo>
                    <a:lnTo>
                      <a:pt x="92" y="592"/>
                    </a:lnTo>
                    <a:lnTo>
                      <a:pt x="93" y="590"/>
                    </a:lnTo>
                    <a:lnTo>
                      <a:pt x="95" y="590"/>
                    </a:lnTo>
                    <a:lnTo>
                      <a:pt x="95" y="589"/>
                    </a:lnTo>
                    <a:lnTo>
                      <a:pt x="97" y="589"/>
                    </a:lnTo>
                    <a:lnTo>
                      <a:pt x="97" y="587"/>
                    </a:lnTo>
                    <a:lnTo>
                      <a:pt x="102" y="569"/>
                    </a:lnTo>
                    <a:lnTo>
                      <a:pt x="103" y="568"/>
                    </a:lnTo>
                    <a:lnTo>
                      <a:pt x="112" y="530"/>
                    </a:lnTo>
                    <a:lnTo>
                      <a:pt x="125" y="452"/>
                    </a:lnTo>
                    <a:lnTo>
                      <a:pt x="133" y="370"/>
                    </a:lnTo>
                    <a:lnTo>
                      <a:pt x="135" y="241"/>
                    </a:lnTo>
                    <a:lnTo>
                      <a:pt x="135" y="240"/>
                    </a:lnTo>
                    <a:lnTo>
                      <a:pt x="128" y="168"/>
                    </a:lnTo>
                    <a:lnTo>
                      <a:pt x="122" y="98"/>
                    </a:lnTo>
                    <a:lnTo>
                      <a:pt x="115" y="55"/>
                    </a:lnTo>
                    <a:lnTo>
                      <a:pt x="113" y="54"/>
                    </a:lnTo>
                    <a:lnTo>
                      <a:pt x="98" y="8"/>
                    </a:lnTo>
                    <a:lnTo>
                      <a:pt x="98" y="7"/>
                    </a:lnTo>
                    <a:lnTo>
                      <a:pt x="97" y="5"/>
                    </a:lnTo>
                    <a:lnTo>
                      <a:pt x="93" y="5"/>
                    </a:lnTo>
                    <a:lnTo>
                      <a:pt x="58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Freeform 189">
                <a:extLst>
                  <a:ext uri="{FF2B5EF4-FFF2-40B4-BE49-F238E27FC236}">
                    <a16:creationId xmlns:a16="http://schemas.microsoft.com/office/drawing/2014/main" id="{F3D6E3EE-020A-4B1C-967C-C1FD09B9C34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7" y="3469"/>
                <a:ext cx="67" cy="296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15" y="22"/>
                  </a:cxn>
                  <a:cxn ang="0">
                    <a:pos x="14" y="18"/>
                  </a:cxn>
                  <a:cxn ang="0">
                    <a:pos x="17" y="40"/>
                  </a:cxn>
                  <a:cxn ang="0">
                    <a:pos x="22" y="69"/>
                  </a:cxn>
                  <a:cxn ang="0">
                    <a:pos x="25" y="110"/>
                  </a:cxn>
                  <a:cxn ang="0">
                    <a:pos x="28" y="149"/>
                  </a:cxn>
                  <a:cxn ang="0">
                    <a:pos x="30" y="177"/>
                  </a:cxn>
                  <a:cxn ang="0">
                    <a:pos x="30" y="230"/>
                  </a:cxn>
                  <a:cxn ang="0">
                    <a:pos x="32" y="230"/>
                  </a:cxn>
                  <a:cxn ang="0">
                    <a:pos x="35" y="234"/>
                  </a:cxn>
                  <a:cxn ang="0">
                    <a:pos x="33" y="234"/>
                  </a:cxn>
                  <a:cxn ang="0">
                    <a:pos x="37" y="239"/>
                  </a:cxn>
                  <a:cxn ang="0">
                    <a:pos x="38" y="240"/>
                  </a:cxn>
                  <a:cxn ang="0">
                    <a:pos x="40" y="240"/>
                  </a:cxn>
                  <a:cxn ang="0">
                    <a:pos x="45" y="242"/>
                  </a:cxn>
                  <a:cxn ang="0">
                    <a:pos x="47" y="243"/>
                  </a:cxn>
                  <a:cxn ang="0">
                    <a:pos x="48" y="243"/>
                  </a:cxn>
                  <a:cxn ang="0">
                    <a:pos x="50" y="242"/>
                  </a:cxn>
                  <a:cxn ang="0">
                    <a:pos x="52" y="242"/>
                  </a:cxn>
                  <a:cxn ang="0">
                    <a:pos x="53" y="240"/>
                  </a:cxn>
                  <a:cxn ang="0">
                    <a:pos x="53" y="239"/>
                  </a:cxn>
                  <a:cxn ang="0">
                    <a:pos x="55" y="237"/>
                  </a:cxn>
                  <a:cxn ang="0">
                    <a:pos x="55" y="235"/>
                  </a:cxn>
                  <a:cxn ang="0">
                    <a:pos x="53" y="234"/>
                  </a:cxn>
                  <a:cxn ang="0">
                    <a:pos x="53" y="232"/>
                  </a:cxn>
                  <a:cxn ang="0">
                    <a:pos x="52" y="230"/>
                  </a:cxn>
                  <a:cxn ang="0">
                    <a:pos x="50" y="230"/>
                  </a:cxn>
                  <a:cxn ang="0">
                    <a:pos x="45" y="229"/>
                  </a:cxn>
                  <a:cxn ang="0">
                    <a:pos x="48" y="230"/>
                  </a:cxn>
                  <a:cxn ang="0">
                    <a:pos x="45" y="225"/>
                  </a:cxn>
                  <a:cxn ang="0">
                    <a:pos x="43" y="225"/>
                  </a:cxn>
                  <a:cxn ang="0">
                    <a:pos x="40" y="222"/>
                  </a:cxn>
                  <a:cxn ang="0">
                    <a:pos x="43" y="227"/>
                  </a:cxn>
                  <a:cxn ang="0">
                    <a:pos x="43" y="175"/>
                  </a:cxn>
                  <a:cxn ang="0">
                    <a:pos x="42" y="147"/>
                  </a:cxn>
                  <a:cxn ang="0">
                    <a:pos x="38" y="108"/>
                  </a:cxn>
                  <a:cxn ang="0">
                    <a:pos x="35" y="67"/>
                  </a:cxn>
                  <a:cxn ang="0">
                    <a:pos x="30" y="38"/>
                  </a:cxn>
                  <a:cxn ang="0">
                    <a:pos x="27" y="17"/>
                  </a:cxn>
                  <a:cxn ang="0">
                    <a:pos x="25" y="17"/>
                  </a:cxn>
                  <a:cxn ang="0">
                    <a:pos x="25" y="1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0" y="0"/>
                  </a:cxn>
                </a:cxnLst>
                <a:rect l="0" t="0" r="r" b="b"/>
                <a:pathLst>
                  <a:path w="55" h="243">
                    <a:moveTo>
                      <a:pt x="10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15" y="22"/>
                    </a:lnTo>
                    <a:lnTo>
                      <a:pt x="14" y="18"/>
                    </a:lnTo>
                    <a:lnTo>
                      <a:pt x="17" y="40"/>
                    </a:lnTo>
                    <a:lnTo>
                      <a:pt x="22" y="69"/>
                    </a:lnTo>
                    <a:lnTo>
                      <a:pt x="25" y="110"/>
                    </a:lnTo>
                    <a:lnTo>
                      <a:pt x="28" y="149"/>
                    </a:lnTo>
                    <a:lnTo>
                      <a:pt x="30" y="177"/>
                    </a:lnTo>
                    <a:lnTo>
                      <a:pt x="30" y="230"/>
                    </a:lnTo>
                    <a:lnTo>
                      <a:pt x="32" y="230"/>
                    </a:lnTo>
                    <a:lnTo>
                      <a:pt x="35" y="234"/>
                    </a:lnTo>
                    <a:lnTo>
                      <a:pt x="33" y="234"/>
                    </a:lnTo>
                    <a:lnTo>
                      <a:pt x="37" y="239"/>
                    </a:lnTo>
                    <a:lnTo>
                      <a:pt x="38" y="240"/>
                    </a:lnTo>
                    <a:lnTo>
                      <a:pt x="40" y="240"/>
                    </a:lnTo>
                    <a:lnTo>
                      <a:pt x="45" y="242"/>
                    </a:lnTo>
                    <a:lnTo>
                      <a:pt x="47" y="243"/>
                    </a:lnTo>
                    <a:lnTo>
                      <a:pt x="48" y="243"/>
                    </a:lnTo>
                    <a:lnTo>
                      <a:pt x="50" y="242"/>
                    </a:lnTo>
                    <a:lnTo>
                      <a:pt x="52" y="242"/>
                    </a:lnTo>
                    <a:lnTo>
                      <a:pt x="53" y="240"/>
                    </a:lnTo>
                    <a:lnTo>
                      <a:pt x="53" y="239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3" y="234"/>
                    </a:lnTo>
                    <a:lnTo>
                      <a:pt x="53" y="232"/>
                    </a:lnTo>
                    <a:lnTo>
                      <a:pt x="52" y="230"/>
                    </a:lnTo>
                    <a:lnTo>
                      <a:pt x="50" y="230"/>
                    </a:lnTo>
                    <a:lnTo>
                      <a:pt x="45" y="229"/>
                    </a:lnTo>
                    <a:lnTo>
                      <a:pt x="48" y="230"/>
                    </a:lnTo>
                    <a:lnTo>
                      <a:pt x="45" y="225"/>
                    </a:lnTo>
                    <a:lnTo>
                      <a:pt x="43" y="225"/>
                    </a:lnTo>
                    <a:lnTo>
                      <a:pt x="40" y="222"/>
                    </a:lnTo>
                    <a:lnTo>
                      <a:pt x="43" y="227"/>
                    </a:lnTo>
                    <a:lnTo>
                      <a:pt x="43" y="175"/>
                    </a:lnTo>
                    <a:lnTo>
                      <a:pt x="42" y="147"/>
                    </a:lnTo>
                    <a:lnTo>
                      <a:pt x="38" y="108"/>
                    </a:lnTo>
                    <a:lnTo>
                      <a:pt x="35" y="67"/>
                    </a:lnTo>
                    <a:lnTo>
                      <a:pt x="30" y="38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Freeform 190">
                <a:extLst>
                  <a:ext uri="{FF2B5EF4-FFF2-40B4-BE49-F238E27FC236}">
                    <a16:creationId xmlns:a16="http://schemas.microsoft.com/office/drawing/2014/main" id="{BA3C33F2-7157-46B1-AEDC-920C8CA354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89" y="3472"/>
                <a:ext cx="68" cy="288"/>
              </a:xfrm>
              <a:custGeom>
                <a:avLst/>
                <a:gdLst/>
                <a:ahLst/>
                <a:cxnLst>
                  <a:cxn ang="0">
                    <a:pos x="3" y="223"/>
                  </a:cxn>
                  <a:cxn ang="0">
                    <a:pos x="1" y="225"/>
                  </a:cxn>
                  <a:cxn ang="0">
                    <a:pos x="0" y="225"/>
                  </a:cxn>
                  <a:cxn ang="0">
                    <a:pos x="0" y="231"/>
                  </a:cxn>
                  <a:cxn ang="0">
                    <a:pos x="1" y="233"/>
                  </a:cxn>
                  <a:cxn ang="0">
                    <a:pos x="1" y="235"/>
                  </a:cxn>
                  <a:cxn ang="0">
                    <a:pos x="3" y="235"/>
                  </a:cxn>
                  <a:cxn ang="0">
                    <a:pos x="5" y="236"/>
                  </a:cxn>
                  <a:cxn ang="0">
                    <a:pos x="6" y="236"/>
                  </a:cxn>
                  <a:cxn ang="0">
                    <a:pos x="8" y="235"/>
                  </a:cxn>
                  <a:cxn ang="0">
                    <a:pos x="15" y="231"/>
                  </a:cxn>
                  <a:cxn ang="0">
                    <a:pos x="16" y="231"/>
                  </a:cxn>
                  <a:cxn ang="0">
                    <a:pos x="18" y="230"/>
                  </a:cxn>
                  <a:cxn ang="0">
                    <a:pos x="18" y="228"/>
                  </a:cxn>
                  <a:cxn ang="0">
                    <a:pos x="21" y="222"/>
                  </a:cxn>
                  <a:cxn ang="0">
                    <a:pos x="23" y="222"/>
                  </a:cxn>
                  <a:cxn ang="0">
                    <a:pos x="28" y="200"/>
                  </a:cxn>
                  <a:cxn ang="0">
                    <a:pos x="28" y="199"/>
                  </a:cxn>
                  <a:cxn ang="0">
                    <a:pos x="34" y="166"/>
                  </a:cxn>
                  <a:cxn ang="0">
                    <a:pos x="38" y="125"/>
                  </a:cxn>
                  <a:cxn ang="0">
                    <a:pos x="43" y="80"/>
                  </a:cxn>
                  <a:cxn ang="0">
                    <a:pos x="44" y="26"/>
                  </a:cxn>
                  <a:cxn ang="0">
                    <a:pos x="43" y="27"/>
                  </a:cxn>
                  <a:cxn ang="0">
                    <a:pos x="46" y="16"/>
                  </a:cxn>
                  <a:cxn ang="0">
                    <a:pos x="49" y="10"/>
                  </a:cxn>
                  <a:cxn ang="0">
                    <a:pos x="46" y="13"/>
                  </a:cxn>
                  <a:cxn ang="0">
                    <a:pos x="51" y="11"/>
                  </a:cxn>
                  <a:cxn ang="0">
                    <a:pos x="53" y="11"/>
                  </a:cxn>
                  <a:cxn ang="0">
                    <a:pos x="54" y="10"/>
                  </a:cxn>
                  <a:cxn ang="0">
                    <a:pos x="54" y="8"/>
                  </a:cxn>
                  <a:cxn ang="0">
                    <a:pos x="56" y="6"/>
                  </a:cxn>
                  <a:cxn ang="0">
                    <a:pos x="56" y="5"/>
                  </a:cxn>
                  <a:cxn ang="0">
                    <a:pos x="54" y="3"/>
                  </a:cxn>
                  <a:cxn ang="0">
                    <a:pos x="54" y="1"/>
                  </a:cxn>
                  <a:cxn ang="0">
                    <a:pos x="53" y="1"/>
                  </a:cxn>
                  <a:cxn ang="0">
                    <a:pos x="51" y="0"/>
                  </a:cxn>
                  <a:cxn ang="0">
                    <a:pos x="46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3"/>
                  </a:cxn>
                  <a:cxn ang="0">
                    <a:pos x="38" y="5"/>
                  </a:cxn>
                  <a:cxn ang="0">
                    <a:pos x="34" y="11"/>
                  </a:cxn>
                  <a:cxn ang="0">
                    <a:pos x="34" y="13"/>
                  </a:cxn>
                  <a:cxn ang="0">
                    <a:pos x="31" y="24"/>
                  </a:cxn>
                  <a:cxn ang="0">
                    <a:pos x="31" y="26"/>
                  </a:cxn>
                  <a:cxn ang="0">
                    <a:pos x="29" y="80"/>
                  </a:cxn>
                  <a:cxn ang="0">
                    <a:pos x="29" y="78"/>
                  </a:cxn>
                  <a:cxn ang="0">
                    <a:pos x="25" y="124"/>
                  </a:cxn>
                  <a:cxn ang="0">
                    <a:pos x="21" y="164"/>
                  </a:cxn>
                  <a:cxn ang="0">
                    <a:pos x="15" y="197"/>
                  </a:cxn>
                  <a:cxn ang="0">
                    <a:pos x="10" y="218"/>
                  </a:cxn>
                  <a:cxn ang="0">
                    <a:pos x="10" y="217"/>
                  </a:cxn>
                  <a:cxn ang="0">
                    <a:pos x="6" y="223"/>
                  </a:cxn>
                  <a:cxn ang="0">
                    <a:pos x="10" y="220"/>
                  </a:cxn>
                  <a:cxn ang="0">
                    <a:pos x="3" y="223"/>
                  </a:cxn>
                </a:cxnLst>
                <a:rect l="0" t="0" r="r" b="b"/>
                <a:pathLst>
                  <a:path w="56" h="236">
                    <a:moveTo>
                      <a:pt x="3" y="223"/>
                    </a:moveTo>
                    <a:lnTo>
                      <a:pt x="1" y="225"/>
                    </a:lnTo>
                    <a:lnTo>
                      <a:pt x="0" y="225"/>
                    </a:lnTo>
                    <a:lnTo>
                      <a:pt x="0" y="231"/>
                    </a:lnTo>
                    <a:lnTo>
                      <a:pt x="1" y="233"/>
                    </a:lnTo>
                    <a:lnTo>
                      <a:pt x="1" y="235"/>
                    </a:lnTo>
                    <a:lnTo>
                      <a:pt x="3" y="235"/>
                    </a:lnTo>
                    <a:lnTo>
                      <a:pt x="5" y="236"/>
                    </a:lnTo>
                    <a:lnTo>
                      <a:pt x="6" y="236"/>
                    </a:lnTo>
                    <a:lnTo>
                      <a:pt x="8" y="235"/>
                    </a:lnTo>
                    <a:lnTo>
                      <a:pt x="15" y="231"/>
                    </a:lnTo>
                    <a:lnTo>
                      <a:pt x="16" y="231"/>
                    </a:lnTo>
                    <a:lnTo>
                      <a:pt x="18" y="230"/>
                    </a:lnTo>
                    <a:lnTo>
                      <a:pt x="18" y="228"/>
                    </a:lnTo>
                    <a:lnTo>
                      <a:pt x="21" y="222"/>
                    </a:lnTo>
                    <a:lnTo>
                      <a:pt x="23" y="222"/>
                    </a:lnTo>
                    <a:lnTo>
                      <a:pt x="28" y="200"/>
                    </a:lnTo>
                    <a:lnTo>
                      <a:pt x="28" y="199"/>
                    </a:lnTo>
                    <a:lnTo>
                      <a:pt x="34" y="166"/>
                    </a:lnTo>
                    <a:lnTo>
                      <a:pt x="38" y="125"/>
                    </a:lnTo>
                    <a:lnTo>
                      <a:pt x="43" y="80"/>
                    </a:lnTo>
                    <a:lnTo>
                      <a:pt x="44" y="26"/>
                    </a:lnTo>
                    <a:lnTo>
                      <a:pt x="43" y="27"/>
                    </a:lnTo>
                    <a:lnTo>
                      <a:pt x="46" y="16"/>
                    </a:lnTo>
                    <a:lnTo>
                      <a:pt x="49" y="10"/>
                    </a:lnTo>
                    <a:lnTo>
                      <a:pt x="46" y="13"/>
                    </a:lnTo>
                    <a:lnTo>
                      <a:pt x="51" y="11"/>
                    </a:lnTo>
                    <a:lnTo>
                      <a:pt x="53" y="11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4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9" y="3"/>
                    </a:lnTo>
                    <a:lnTo>
                      <a:pt x="38" y="5"/>
                    </a:lnTo>
                    <a:lnTo>
                      <a:pt x="34" y="11"/>
                    </a:lnTo>
                    <a:lnTo>
                      <a:pt x="34" y="13"/>
                    </a:lnTo>
                    <a:lnTo>
                      <a:pt x="31" y="24"/>
                    </a:lnTo>
                    <a:lnTo>
                      <a:pt x="31" y="26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5" y="124"/>
                    </a:lnTo>
                    <a:lnTo>
                      <a:pt x="21" y="164"/>
                    </a:lnTo>
                    <a:lnTo>
                      <a:pt x="15" y="197"/>
                    </a:lnTo>
                    <a:lnTo>
                      <a:pt x="10" y="218"/>
                    </a:lnTo>
                    <a:lnTo>
                      <a:pt x="10" y="217"/>
                    </a:lnTo>
                    <a:lnTo>
                      <a:pt x="6" y="223"/>
                    </a:lnTo>
                    <a:lnTo>
                      <a:pt x="10" y="220"/>
                    </a:lnTo>
                    <a:lnTo>
                      <a:pt x="3" y="22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Freeform 191">
                <a:extLst>
                  <a:ext uri="{FF2B5EF4-FFF2-40B4-BE49-F238E27FC236}">
                    <a16:creationId xmlns:a16="http://schemas.microsoft.com/office/drawing/2014/main" id="{6543C065-123C-42F5-B4A9-F11A74E05B5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07" y="3197"/>
                <a:ext cx="531" cy="6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5" y="13"/>
                  </a:cxn>
                  <a:cxn ang="0">
                    <a:pos x="135" y="20"/>
                  </a:cxn>
                  <a:cxn ang="0">
                    <a:pos x="240" y="23"/>
                  </a:cxn>
                  <a:cxn ang="0">
                    <a:pos x="316" y="31"/>
                  </a:cxn>
                  <a:cxn ang="0">
                    <a:pos x="366" y="38"/>
                  </a:cxn>
                  <a:cxn ang="0">
                    <a:pos x="406" y="46"/>
                  </a:cxn>
                  <a:cxn ang="0">
                    <a:pos x="406" y="44"/>
                  </a:cxn>
                  <a:cxn ang="0">
                    <a:pos x="429" y="51"/>
                  </a:cxn>
                  <a:cxn ang="0">
                    <a:pos x="431" y="53"/>
                  </a:cxn>
                  <a:cxn ang="0">
                    <a:pos x="432" y="53"/>
                  </a:cxn>
                  <a:cxn ang="0">
                    <a:pos x="436" y="49"/>
                  </a:cxn>
                  <a:cxn ang="0">
                    <a:pos x="436" y="48"/>
                  </a:cxn>
                  <a:cxn ang="0">
                    <a:pos x="437" y="46"/>
                  </a:cxn>
                  <a:cxn ang="0">
                    <a:pos x="437" y="44"/>
                  </a:cxn>
                  <a:cxn ang="0">
                    <a:pos x="436" y="43"/>
                  </a:cxn>
                  <a:cxn ang="0">
                    <a:pos x="436" y="41"/>
                  </a:cxn>
                  <a:cxn ang="0">
                    <a:pos x="434" y="40"/>
                  </a:cxn>
                  <a:cxn ang="0">
                    <a:pos x="432" y="40"/>
                  </a:cxn>
                  <a:cxn ang="0">
                    <a:pos x="409" y="33"/>
                  </a:cxn>
                  <a:cxn ang="0">
                    <a:pos x="407" y="33"/>
                  </a:cxn>
                  <a:cxn ang="0">
                    <a:pos x="367" y="25"/>
                  </a:cxn>
                  <a:cxn ang="0">
                    <a:pos x="318" y="18"/>
                  </a:cxn>
                  <a:cxn ang="0">
                    <a:pos x="241" y="10"/>
                  </a:cxn>
                  <a:cxn ang="0">
                    <a:pos x="137" y="7"/>
                  </a:cxn>
                  <a:cxn ang="0">
                    <a:pos x="7" y="0"/>
                  </a:cxn>
                </a:cxnLst>
                <a:rect l="0" t="0" r="r" b="b"/>
                <a:pathLst>
                  <a:path w="437" h="53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5" y="13"/>
                    </a:lnTo>
                    <a:lnTo>
                      <a:pt x="135" y="20"/>
                    </a:lnTo>
                    <a:lnTo>
                      <a:pt x="240" y="23"/>
                    </a:lnTo>
                    <a:lnTo>
                      <a:pt x="316" y="31"/>
                    </a:lnTo>
                    <a:lnTo>
                      <a:pt x="366" y="38"/>
                    </a:lnTo>
                    <a:lnTo>
                      <a:pt x="406" y="46"/>
                    </a:lnTo>
                    <a:lnTo>
                      <a:pt x="406" y="44"/>
                    </a:lnTo>
                    <a:lnTo>
                      <a:pt x="429" y="51"/>
                    </a:lnTo>
                    <a:lnTo>
                      <a:pt x="431" y="53"/>
                    </a:lnTo>
                    <a:lnTo>
                      <a:pt x="432" y="53"/>
                    </a:lnTo>
                    <a:lnTo>
                      <a:pt x="436" y="49"/>
                    </a:lnTo>
                    <a:lnTo>
                      <a:pt x="436" y="48"/>
                    </a:lnTo>
                    <a:lnTo>
                      <a:pt x="437" y="46"/>
                    </a:lnTo>
                    <a:lnTo>
                      <a:pt x="437" y="44"/>
                    </a:lnTo>
                    <a:lnTo>
                      <a:pt x="436" y="43"/>
                    </a:lnTo>
                    <a:lnTo>
                      <a:pt x="436" y="41"/>
                    </a:lnTo>
                    <a:lnTo>
                      <a:pt x="434" y="40"/>
                    </a:lnTo>
                    <a:lnTo>
                      <a:pt x="432" y="40"/>
                    </a:lnTo>
                    <a:lnTo>
                      <a:pt x="409" y="33"/>
                    </a:lnTo>
                    <a:lnTo>
                      <a:pt x="407" y="33"/>
                    </a:lnTo>
                    <a:lnTo>
                      <a:pt x="367" y="25"/>
                    </a:lnTo>
                    <a:lnTo>
                      <a:pt x="318" y="18"/>
                    </a:lnTo>
                    <a:lnTo>
                      <a:pt x="241" y="10"/>
                    </a:lnTo>
                    <a:lnTo>
                      <a:pt x="137" y="7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" name="Freeform 192">
                <a:extLst>
                  <a:ext uri="{FF2B5EF4-FFF2-40B4-BE49-F238E27FC236}">
                    <a16:creationId xmlns:a16="http://schemas.microsoft.com/office/drawing/2014/main" id="{0568729A-1567-4D98-AEE8-BF56047A996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61" y="2771"/>
                <a:ext cx="1395" cy="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379" y="16"/>
                  </a:cxn>
                  <a:cxn ang="0">
                    <a:pos x="850" y="28"/>
                  </a:cxn>
                  <a:cxn ang="0">
                    <a:pos x="849" y="28"/>
                  </a:cxn>
                  <a:cxn ang="0">
                    <a:pos x="980" y="36"/>
                  </a:cxn>
                  <a:cxn ang="0">
                    <a:pos x="1073" y="47"/>
                  </a:cxn>
                  <a:cxn ang="0">
                    <a:pos x="1114" y="54"/>
                  </a:cxn>
                  <a:cxn ang="0">
                    <a:pos x="1113" y="52"/>
                  </a:cxn>
                  <a:cxn ang="0">
                    <a:pos x="1138" y="60"/>
                  </a:cxn>
                  <a:cxn ang="0">
                    <a:pos x="1139" y="62"/>
                  </a:cxn>
                  <a:cxn ang="0">
                    <a:pos x="1141" y="62"/>
                  </a:cxn>
                  <a:cxn ang="0">
                    <a:pos x="1143" y="60"/>
                  </a:cxn>
                  <a:cxn ang="0">
                    <a:pos x="1144" y="60"/>
                  </a:cxn>
                  <a:cxn ang="0">
                    <a:pos x="1146" y="59"/>
                  </a:cxn>
                  <a:cxn ang="0">
                    <a:pos x="1146" y="57"/>
                  </a:cxn>
                  <a:cxn ang="0">
                    <a:pos x="1148" y="55"/>
                  </a:cxn>
                  <a:cxn ang="0">
                    <a:pos x="1148" y="54"/>
                  </a:cxn>
                  <a:cxn ang="0">
                    <a:pos x="1146" y="52"/>
                  </a:cxn>
                  <a:cxn ang="0">
                    <a:pos x="1146" y="50"/>
                  </a:cxn>
                  <a:cxn ang="0">
                    <a:pos x="1144" y="49"/>
                  </a:cxn>
                  <a:cxn ang="0">
                    <a:pos x="1143" y="49"/>
                  </a:cxn>
                  <a:cxn ang="0">
                    <a:pos x="1118" y="41"/>
                  </a:cxn>
                  <a:cxn ang="0">
                    <a:pos x="1116" y="41"/>
                  </a:cxn>
                  <a:cxn ang="0">
                    <a:pos x="1074" y="34"/>
                  </a:cxn>
                  <a:cxn ang="0">
                    <a:pos x="981" y="23"/>
                  </a:cxn>
                  <a:cxn ang="0">
                    <a:pos x="850" y="15"/>
                  </a:cxn>
                  <a:cxn ang="0">
                    <a:pos x="379" y="3"/>
                  </a:cxn>
                  <a:cxn ang="0">
                    <a:pos x="7" y="0"/>
                  </a:cxn>
                </a:cxnLst>
                <a:rect l="0" t="0" r="r" b="b"/>
                <a:pathLst>
                  <a:path w="1148" h="62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379" y="16"/>
                    </a:lnTo>
                    <a:lnTo>
                      <a:pt x="850" y="28"/>
                    </a:lnTo>
                    <a:lnTo>
                      <a:pt x="849" y="28"/>
                    </a:lnTo>
                    <a:lnTo>
                      <a:pt x="980" y="36"/>
                    </a:lnTo>
                    <a:lnTo>
                      <a:pt x="1073" y="47"/>
                    </a:lnTo>
                    <a:lnTo>
                      <a:pt x="1114" y="54"/>
                    </a:lnTo>
                    <a:lnTo>
                      <a:pt x="1113" y="52"/>
                    </a:lnTo>
                    <a:lnTo>
                      <a:pt x="1138" y="60"/>
                    </a:lnTo>
                    <a:lnTo>
                      <a:pt x="1139" y="62"/>
                    </a:lnTo>
                    <a:lnTo>
                      <a:pt x="1141" y="62"/>
                    </a:lnTo>
                    <a:lnTo>
                      <a:pt x="1143" y="60"/>
                    </a:lnTo>
                    <a:lnTo>
                      <a:pt x="1144" y="60"/>
                    </a:lnTo>
                    <a:lnTo>
                      <a:pt x="1146" y="59"/>
                    </a:lnTo>
                    <a:lnTo>
                      <a:pt x="1146" y="57"/>
                    </a:lnTo>
                    <a:lnTo>
                      <a:pt x="1148" y="55"/>
                    </a:lnTo>
                    <a:lnTo>
                      <a:pt x="1148" y="54"/>
                    </a:lnTo>
                    <a:lnTo>
                      <a:pt x="1146" y="52"/>
                    </a:lnTo>
                    <a:lnTo>
                      <a:pt x="1146" y="50"/>
                    </a:lnTo>
                    <a:lnTo>
                      <a:pt x="1144" y="49"/>
                    </a:lnTo>
                    <a:lnTo>
                      <a:pt x="1143" y="49"/>
                    </a:lnTo>
                    <a:lnTo>
                      <a:pt x="1118" y="41"/>
                    </a:lnTo>
                    <a:lnTo>
                      <a:pt x="1116" y="41"/>
                    </a:lnTo>
                    <a:lnTo>
                      <a:pt x="1074" y="34"/>
                    </a:lnTo>
                    <a:lnTo>
                      <a:pt x="981" y="23"/>
                    </a:lnTo>
                    <a:lnTo>
                      <a:pt x="850" y="15"/>
                    </a:lnTo>
                    <a:lnTo>
                      <a:pt x="379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Freeform 193">
                <a:extLst>
                  <a:ext uri="{FF2B5EF4-FFF2-40B4-BE49-F238E27FC236}">
                    <a16:creationId xmlns:a16="http://schemas.microsoft.com/office/drawing/2014/main" id="{DAB1451A-13E4-456D-84F1-16667AC5133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13" y="2723"/>
                <a:ext cx="1380" cy="13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6" y="13"/>
                  </a:cxn>
                  <a:cxn ang="0">
                    <a:pos x="393" y="18"/>
                  </a:cxn>
                  <a:cxn ang="0">
                    <a:pos x="392" y="18"/>
                  </a:cxn>
                  <a:cxn ang="0">
                    <a:pos x="637" y="29"/>
                  </a:cxn>
                  <a:cxn ang="0">
                    <a:pos x="863" y="39"/>
                  </a:cxn>
                  <a:cxn ang="0">
                    <a:pos x="933" y="46"/>
                  </a:cxn>
                  <a:cxn ang="0">
                    <a:pos x="1004" y="54"/>
                  </a:cxn>
                  <a:cxn ang="0">
                    <a:pos x="1063" y="67"/>
                  </a:cxn>
                  <a:cxn ang="0">
                    <a:pos x="1061" y="65"/>
                  </a:cxn>
                  <a:cxn ang="0">
                    <a:pos x="1096" y="80"/>
                  </a:cxn>
                  <a:cxn ang="0">
                    <a:pos x="1094" y="80"/>
                  </a:cxn>
                  <a:cxn ang="0">
                    <a:pos x="1109" y="91"/>
                  </a:cxn>
                  <a:cxn ang="0">
                    <a:pos x="1109" y="90"/>
                  </a:cxn>
                  <a:cxn ang="0">
                    <a:pos x="1124" y="108"/>
                  </a:cxn>
                  <a:cxn ang="0">
                    <a:pos x="1124" y="109"/>
                  </a:cxn>
                  <a:cxn ang="0">
                    <a:pos x="1126" y="109"/>
                  </a:cxn>
                  <a:cxn ang="0">
                    <a:pos x="1127" y="111"/>
                  </a:cxn>
                  <a:cxn ang="0">
                    <a:pos x="1129" y="111"/>
                  </a:cxn>
                  <a:cxn ang="0">
                    <a:pos x="1131" y="109"/>
                  </a:cxn>
                  <a:cxn ang="0">
                    <a:pos x="1132" y="109"/>
                  </a:cxn>
                  <a:cxn ang="0">
                    <a:pos x="1134" y="108"/>
                  </a:cxn>
                  <a:cxn ang="0">
                    <a:pos x="1134" y="106"/>
                  </a:cxn>
                  <a:cxn ang="0">
                    <a:pos x="1136" y="105"/>
                  </a:cxn>
                  <a:cxn ang="0">
                    <a:pos x="1136" y="103"/>
                  </a:cxn>
                  <a:cxn ang="0">
                    <a:pos x="1134" y="101"/>
                  </a:cxn>
                  <a:cxn ang="0">
                    <a:pos x="1134" y="100"/>
                  </a:cxn>
                  <a:cxn ang="0">
                    <a:pos x="1119" y="82"/>
                  </a:cxn>
                  <a:cxn ang="0">
                    <a:pos x="1117" y="80"/>
                  </a:cxn>
                  <a:cxn ang="0">
                    <a:pos x="1102" y="69"/>
                  </a:cxn>
                  <a:cxn ang="0">
                    <a:pos x="1101" y="69"/>
                  </a:cxn>
                  <a:cxn ang="0">
                    <a:pos x="1066" y="54"/>
                  </a:cxn>
                  <a:cxn ang="0">
                    <a:pos x="1008" y="41"/>
                  </a:cxn>
                  <a:cxn ang="0">
                    <a:pos x="1006" y="41"/>
                  </a:cxn>
                  <a:cxn ang="0">
                    <a:pos x="935" y="33"/>
                  </a:cxn>
                  <a:cxn ang="0">
                    <a:pos x="865" y="26"/>
                  </a:cxn>
                  <a:cxn ang="0">
                    <a:pos x="639" y="16"/>
                  </a:cxn>
                  <a:cxn ang="0">
                    <a:pos x="393" y="5"/>
                  </a:cxn>
                  <a:cxn ang="0">
                    <a:pos x="6" y="0"/>
                  </a:cxn>
                </a:cxnLst>
                <a:rect l="0" t="0" r="r" b="b"/>
                <a:pathLst>
                  <a:path w="1136" h="111">
                    <a:moveTo>
                      <a:pt x="6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393" y="18"/>
                    </a:lnTo>
                    <a:lnTo>
                      <a:pt x="392" y="18"/>
                    </a:lnTo>
                    <a:lnTo>
                      <a:pt x="637" y="29"/>
                    </a:lnTo>
                    <a:lnTo>
                      <a:pt x="863" y="39"/>
                    </a:lnTo>
                    <a:lnTo>
                      <a:pt x="933" y="46"/>
                    </a:lnTo>
                    <a:lnTo>
                      <a:pt x="1004" y="54"/>
                    </a:lnTo>
                    <a:lnTo>
                      <a:pt x="1063" y="67"/>
                    </a:lnTo>
                    <a:lnTo>
                      <a:pt x="1061" y="65"/>
                    </a:lnTo>
                    <a:lnTo>
                      <a:pt x="1096" y="80"/>
                    </a:lnTo>
                    <a:lnTo>
                      <a:pt x="1094" y="80"/>
                    </a:lnTo>
                    <a:lnTo>
                      <a:pt x="1109" y="91"/>
                    </a:lnTo>
                    <a:lnTo>
                      <a:pt x="1109" y="90"/>
                    </a:lnTo>
                    <a:lnTo>
                      <a:pt x="1124" y="108"/>
                    </a:lnTo>
                    <a:lnTo>
                      <a:pt x="1124" y="109"/>
                    </a:lnTo>
                    <a:lnTo>
                      <a:pt x="1126" y="109"/>
                    </a:lnTo>
                    <a:lnTo>
                      <a:pt x="1127" y="111"/>
                    </a:lnTo>
                    <a:lnTo>
                      <a:pt x="1129" y="111"/>
                    </a:lnTo>
                    <a:lnTo>
                      <a:pt x="1131" y="109"/>
                    </a:lnTo>
                    <a:lnTo>
                      <a:pt x="1132" y="109"/>
                    </a:lnTo>
                    <a:lnTo>
                      <a:pt x="1134" y="108"/>
                    </a:lnTo>
                    <a:lnTo>
                      <a:pt x="1134" y="106"/>
                    </a:lnTo>
                    <a:lnTo>
                      <a:pt x="1136" y="105"/>
                    </a:lnTo>
                    <a:lnTo>
                      <a:pt x="1136" y="103"/>
                    </a:lnTo>
                    <a:lnTo>
                      <a:pt x="1134" y="101"/>
                    </a:lnTo>
                    <a:lnTo>
                      <a:pt x="1134" y="100"/>
                    </a:lnTo>
                    <a:lnTo>
                      <a:pt x="1119" y="82"/>
                    </a:lnTo>
                    <a:lnTo>
                      <a:pt x="1117" y="80"/>
                    </a:lnTo>
                    <a:lnTo>
                      <a:pt x="1102" y="69"/>
                    </a:lnTo>
                    <a:lnTo>
                      <a:pt x="1101" y="69"/>
                    </a:lnTo>
                    <a:lnTo>
                      <a:pt x="1066" y="54"/>
                    </a:lnTo>
                    <a:lnTo>
                      <a:pt x="1008" y="41"/>
                    </a:lnTo>
                    <a:lnTo>
                      <a:pt x="1006" y="41"/>
                    </a:lnTo>
                    <a:lnTo>
                      <a:pt x="935" y="33"/>
                    </a:lnTo>
                    <a:lnTo>
                      <a:pt x="865" y="26"/>
                    </a:lnTo>
                    <a:lnTo>
                      <a:pt x="639" y="16"/>
                    </a:lnTo>
                    <a:lnTo>
                      <a:pt x="393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Freeform 194">
                <a:extLst>
                  <a:ext uri="{FF2B5EF4-FFF2-40B4-BE49-F238E27FC236}">
                    <a16:creationId xmlns:a16="http://schemas.microsoft.com/office/drawing/2014/main" id="{E9AE3ED0-75ED-4D6B-B35D-CACD8FEE595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95" y="2736"/>
                <a:ext cx="1391" cy="100"/>
              </a:xfrm>
              <a:custGeom>
                <a:avLst/>
                <a:gdLst/>
                <a:ahLst/>
                <a:cxnLst>
                  <a:cxn ang="0">
                    <a:pos x="7" y="64"/>
                  </a:cxn>
                  <a:cxn ang="0">
                    <a:pos x="4" y="64"/>
                  </a:cxn>
                  <a:cxn ang="0">
                    <a:pos x="0" y="67"/>
                  </a:cxn>
                  <a:cxn ang="0">
                    <a:pos x="0" y="74"/>
                  </a:cxn>
                  <a:cxn ang="0">
                    <a:pos x="2" y="74"/>
                  </a:cxn>
                  <a:cxn ang="0">
                    <a:pos x="4" y="75"/>
                  </a:cxn>
                  <a:cxn ang="0">
                    <a:pos x="5" y="75"/>
                  </a:cxn>
                  <a:cxn ang="0">
                    <a:pos x="7" y="77"/>
                  </a:cxn>
                  <a:cxn ang="0">
                    <a:pos x="397" y="82"/>
                  </a:cxn>
                  <a:cxn ang="0">
                    <a:pos x="645" y="80"/>
                  </a:cxn>
                  <a:cxn ang="0">
                    <a:pos x="867" y="75"/>
                  </a:cxn>
                  <a:cxn ang="0">
                    <a:pos x="990" y="67"/>
                  </a:cxn>
                  <a:cxn ang="0">
                    <a:pos x="1050" y="59"/>
                  </a:cxn>
                  <a:cxn ang="0">
                    <a:pos x="1052" y="57"/>
                  </a:cxn>
                  <a:cxn ang="0">
                    <a:pos x="1091" y="46"/>
                  </a:cxn>
                  <a:cxn ang="0">
                    <a:pos x="1121" y="33"/>
                  </a:cxn>
                  <a:cxn ang="0">
                    <a:pos x="1123" y="33"/>
                  </a:cxn>
                  <a:cxn ang="0">
                    <a:pos x="1125" y="31"/>
                  </a:cxn>
                  <a:cxn ang="0">
                    <a:pos x="1143" y="10"/>
                  </a:cxn>
                  <a:cxn ang="0">
                    <a:pos x="1143" y="8"/>
                  </a:cxn>
                  <a:cxn ang="0">
                    <a:pos x="1145" y="7"/>
                  </a:cxn>
                  <a:cxn ang="0">
                    <a:pos x="1145" y="5"/>
                  </a:cxn>
                  <a:cxn ang="0">
                    <a:pos x="1143" y="3"/>
                  </a:cxn>
                  <a:cxn ang="0">
                    <a:pos x="1143" y="2"/>
                  </a:cxn>
                  <a:cxn ang="0">
                    <a:pos x="1141" y="2"/>
                  </a:cxn>
                  <a:cxn ang="0">
                    <a:pos x="1140" y="0"/>
                  </a:cxn>
                  <a:cxn ang="0">
                    <a:pos x="1133" y="0"/>
                  </a:cxn>
                  <a:cxn ang="0">
                    <a:pos x="1133" y="2"/>
                  </a:cxn>
                  <a:cxn ang="0">
                    <a:pos x="1115" y="23"/>
                  </a:cxn>
                  <a:cxn ang="0">
                    <a:pos x="1116" y="21"/>
                  </a:cxn>
                  <a:cxn ang="0">
                    <a:pos x="1086" y="34"/>
                  </a:cxn>
                  <a:cxn ang="0">
                    <a:pos x="1088" y="34"/>
                  </a:cxn>
                  <a:cxn ang="0">
                    <a:pos x="1048" y="46"/>
                  </a:cxn>
                  <a:cxn ang="0">
                    <a:pos x="988" y="54"/>
                  </a:cxn>
                  <a:cxn ang="0">
                    <a:pos x="866" y="62"/>
                  </a:cxn>
                  <a:cxn ang="0">
                    <a:pos x="867" y="62"/>
                  </a:cxn>
                  <a:cxn ang="0">
                    <a:pos x="645" y="67"/>
                  </a:cxn>
                  <a:cxn ang="0">
                    <a:pos x="397" y="69"/>
                  </a:cxn>
                  <a:cxn ang="0">
                    <a:pos x="7" y="64"/>
                  </a:cxn>
                </a:cxnLst>
                <a:rect l="0" t="0" r="r" b="b"/>
                <a:pathLst>
                  <a:path w="1145" h="82">
                    <a:moveTo>
                      <a:pt x="7" y="64"/>
                    </a:moveTo>
                    <a:lnTo>
                      <a:pt x="4" y="64"/>
                    </a:lnTo>
                    <a:lnTo>
                      <a:pt x="0" y="67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7" y="77"/>
                    </a:lnTo>
                    <a:lnTo>
                      <a:pt x="397" y="82"/>
                    </a:lnTo>
                    <a:lnTo>
                      <a:pt x="645" y="80"/>
                    </a:lnTo>
                    <a:lnTo>
                      <a:pt x="867" y="75"/>
                    </a:lnTo>
                    <a:lnTo>
                      <a:pt x="990" y="67"/>
                    </a:lnTo>
                    <a:lnTo>
                      <a:pt x="1050" y="59"/>
                    </a:lnTo>
                    <a:lnTo>
                      <a:pt x="1052" y="57"/>
                    </a:lnTo>
                    <a:lnTo>
                      <a:pt x="1091" y="46"/>
                    </a:lnTo>
                    <a:lnTo>
                      <a:pt x="1121" y="33"/>
                    </a:lnTo>
                    <a:lnTo>
                      <a:pt x="1123" y="33"/>
                    </a:lnTo>
                    <a:lnTo>
                      <a:pt x="1125" y="31"/>
                    </a:lnTo>
                    <a:lnTo>
                      <a:pt x="1143" y="10"/>
                    </a:lnTo>
                    <a:lnTo>
                      <a:pt x="1143" y="8"/>
                    </a:lnTo>
                    <a:lnTo>
                      <a:pt x="1145" y="7"/>
                    </a:lnTo>
                    <a:lnTo>
                      <a:pt x="1145" y="5"/>
                    </a:lnTo>
                    <a:lnTo>
                      <a:pt x="1143" y="3"/>
                    </a:lnTo>
                    <a:lnTo>
                      <a:pt x="1143" y="2"/>
                    </a:lnTo>
                    <a:lnTo>
                      <a:pt x="1141" y="2"/>
                    </a:lnTo>
                    <a:lnTo>
                      <a:pt x="1140" y="0"/>
                    </a:lnTo>
                    <a:lnTo>
                      <a:pt x="1133" y="0"/>
                    </a:lnTo>
                    <a:lnTo>
                      <a:pt x="1133" y="2"/>
                    </a:lnTo>
                    <a:lnTo>
                      <a:pt x="1115" y="23"/>
                    </a:lnTo>
                    <a:lnTo>
                      <a:pt x="1116" y="21"/>
                    </a:lnTo>
                    <a:lnTo>
                      <a:pt x="1086" y="34"/>
                    </a:lnTo>
                    <a:lnTo>
                      <a:pt x="1088" y="34"/>
                    </a:lnTo>
                    <a:lnTo>
                      <a:pt x="1048" y="46"/>
                    </a:lnTo>
                    <a:lnTo>
                      <a:pt x="988" y="54"/>
                    </a:lnTo>
                    <a:lnTo>
                      <a:pt x="866" y="62"/>
                    </a:lnTo>
                    <a:lnTo>
                      <a:pt x="867" y="62"/>
                    </a:lnTo>
                    <a:lnTo>
                      <a:pt x="645" y="67"/>
                    </a:lnTo>
                    <a:lnTo>
                      <a:pt x="397" y="69"/>
                    </a:lnTo>
                    <a:lnTo>
                      <a:pt x="7" y="6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Freeform 195">
                <a:extLst>
                  <a:ext uri="{FF2B5EF4-FFF2-40B4-BE49-F238E27FC236}">
                    <a16:creationId xmlns:a16="http://schemas.microsoft.com/office/drawing/2014/main" id="{22518059-866E-488E-A7C6-85D6732778B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31" y="2776"/>
                <a:ext cx="1402" cy="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3" y="29"/>
                  </a:cxn>
                  <a:cxn ang="0">
                    <a:pos x="5" y="29"/>
                  </a:cxn>
                  <a:cxn ang="0">
                    <a:pos x="7" y="31"/>
                  </a:cxn>
                  <a:cxn ang="0">
                    <a:pos x="236" y="32"/>
                  </a:cxn>
                  <a:cxn ang="0">
                    <a:pos x="385" y="34"/>
                  </a:cxn>
                  <a:cxn ang="0">
                    <a:pos x="646" y="37"/>
                  </a:cxn>
                  <a:cxn ang="0">
                    <a:pos x="852" y="39"/>
                  </a:cxn>
                  <a:cxn ang="0">
                    <a:pos x="1010" y="34"/>
                  </a:cxn>
                  <a:cxn ang="0">
                    <a:pos x="1078" y="27"/>
                  </a:cxn>
                  <a:cxn ang="0">
                    <a:pos x="1124" y="19"/>
                  </a:cxn>
                  <a:cxn ang="0">
                    <a:pos x="1126" y="18"/>
                  </a:cxn>
                  <a:cxn ang="0">
                    <a:pos x="1149" y="11"/>
                  </a:cxn>
                  <a:cxn ang="0">
                    <a:pos x="1151" y="11"/>
                  </a:cxn>
                  <a:cxn ang="0">
                    <a:pos x="1154" y="8"/>
                  </a:cxn>
                  <a:cxn ang="0">
                    <a:pos x="1154" y="6"/>
                  </a:cxn>
                  <a:cxn ang="0">
                    <a:pos x="1153" y="5"/>
                  </a:cxn>
                  <a:cxn ang="0">
                    <a:pos x="1153" y="3"/>
                  </a:cxn>
                  <a:cxn ang="0">
                    <a:pos x="1151" y="1"/>
                  </a:cxn>
                  <a:cxn ang="0">
                    <a:pos x="1151" y="0"/>
                  </a:cxn>
                  <a:cxn ang="0">
                    <a:pos x="1146" y="0"/>
                  </a:cxn>
                  <a:cxn ang="0">
                    <a:pos x="1123" y="6"/>
                  </a:cxn>
                  <a:cxn ang="0">
                    <a:pos x="1076" y="14"/>
                  </a:cxn>
                  <a:cxn ang="0">
                    <a:pos x="1008" y="21"/>
                  </a:cxn>
                  <a:cxn ang="0">
                    <a:pos x="850" y="26"/>
                  </a:cxn>
                  <a:cxn ang="0">
                    <a:pos x="852" y="26"/>
                  </a:cxn>
                  <a:cxn ang="0">
                    <a:pos x="646" y="24"/>
                  </a:cxn>
                  <a:cxn ang="0">
                    <a:pos x="385" y="21"/>
                  </a:cxn>
                  <a:cxn ang="0">
                    <a:pos x="236" y="19"/>
                  </a:cxn>
                  <a:cxn ang="0">
                    <a:pos x="7" y="18"/>
                  </a:cxn>
                </a:cxnLst>
                <a:rect l="0" t="0" r="r" b="b"/>
                <a:pathLst>
                  <a:path w="1154" h="39">
                    <a:moveTo>
                      <a:pt x="7" y="18"/>
                    </a:moveTo>
                    <a:lnTo>
                      <a:pt x="3" y="18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7" y="31"/>
                    </a:lnTo>
                    <a:lnTo>
                      <a:pt x="236" y="32"/>
                    </a:lnTo>
                    <a:lnTo>
                      <a:pt x="385" y="34"/>
                    </a:lnTo>
                    <a:lnTo>
                      <a:pt x="646" y="37"/>
                    </a:lnTo>
                    <a:lnTo>
                      <a:pt x="852" y="39"/>
                    </a:lnTo>
                    <a:lnTo>
                      <a:pt x="1010" y="34"/>
                    </a:lnTo>
                    <a:lnTo>
                      <a:pt x="1078" y="27"/>
                    </a:lnTo>
                    <a:lnTo>
                      <a:pt x="1124" y="19"/>
                    </a:lnTo>
                    <a:lnTo>
                      <a:pt x="1126" y="18"/>
                    </a:lnTo>
                    <a:lnTo>
                      <a:pt x="1149" y="11"/>
                    </a:lnTo>
                    <a:lnTo>
                      <a:pt x="1151" y="11"/>
                    </a:lnTo>
                    <a:lnTo>
                      <a:pt x="1154" y="8"/>
                    </a:lnTo>
                    <a:lnTo>
                      <a:pt x="1154" y="6"/>
                    </a:lnTo>
                    <a:lnTo>
                      <a:pt x="1153" y="5"/>
                    </a:lnTo>
                    <a:lnTo>
                      <a:pt x="1153" y="3"/>
                    </a:lnTo>
                    <a:lnTo>
                      <a:pt x="1151" y="1"/>
                    </a:lnTo>
                    <a:lnTo>
                      <a:pt x="1151" y="0"/>
                    </a:lnTo>
                    <a:lnTo>
                      <a:pt x="1146" y="0"/>
                    </a:lnTo>
                    <a:lnTo>
                      <a:pt x="1123" y="6"/>
                    </a:lnTo>
                    <a:lnTo>
                      <a:pt x="1076" y="14"/>
                    </a:lnTo>
                    <a:lnTo>
                      <a:pt x="1008" y="21"/>
                    </a:lnTo>
                    <a:lnTo>
                      <a:pt x="850" y="26"/>
                    </a:lnTo>
                    <a:lnTo>
                      <a:pt x="852" y="26"/>
                    </a:lnTo>
                    <a:lnTo>
                      <a:pt x="646" y="24"/>
                    </a:lnTo>
                    <a:lnTo>
                      <a:pt x="385" y="21"/>
                    </a:lnTo>
                    <a:lnTo>
                      <a:pt x="236" y="19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196">
                <a:extLst>
                  <a:ext uri="{FF2B5EF4-FFF2-40B4-BE49-F238E27FC236}">
                    <a16:creationId xmlns:a16="http://schemas.microsoft.com/office/drawing/2014/main" id="{73583236-C5C9-4054-AB10-623D142BC1B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7" y="3221"/>
                <a:ext cx="495" cy="41"/>
              </a:xfrm>
              <a:custGeom>
                <a:avLst/>
                <a:gdLst/>
                <a:ahLst/>
                <a:cxnLst>
                  <a:cxn ang="0">
                    <a:pos x="7" y="21"/>
                  </a:cxn>
                  <a:cxn ang="0">
                    <a:pos x="4" y="21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263" y="31"/>
                  </a:cxn>
                  <a:cxn ang="0">
                    <a:pos x="341" y="22"/>
                  </a:cxn>
                  <a:cxn ang="0">
                    <a:pos x="377" y="19"/>
                  </a:cxn>
                  <a:cxn ang="0">
                    <a:pos x="379" y="18"/>
                  </a:cxn>
                  <a:cxn ang="0">
                    <a:pos x="402" y="11"/>
                  </a:cxn>
                  <a:cxn ang="0">
                    <a:pos x="404" y="11"/>
                  </a:cxn>
                  <a:cxn ang="0">
                    <a:pos x="407" y="8"/>
                  </a:cxn>
                  <a:cxn ang="0">
                    <a:pos x="407" y="6"/>
                  </a:cxn>
                  <a:cxn ang="0">
                    <a:pos x="406" y="5"/>
                  </a:cxn>
                  <a:cxn ang="0">
                    <a:pos x="406" y="3"/>
                  </a:cxn>
                  <a:cxn ang="0">
                    <a:pos x="404" y="1"/>
                  </a:cxn>
                  <a:cxn ang="0">
                    <a:pos x="404" y="0"/>
                  </a:cxn>
                  <a:cxn ang="0">
                    <a:pos x="399" y="0"/>
                  </a:cxn>
                  <a:cxn ang="0">
                    <a:pos x="376" y="6"/>
                  </a:cxn>
                  <a:cxn ang="0">
                    <a:pos x="339" y="9"/>
                  </a:cxn>
                  <a:cxn ang="0">
                    <a:pos x="261" y="18"/>
                  </a:cxn>
                  <a:cxn ang="0">
                    <a:pos x="263" y="18"/>
                  </a:cxn>
                  <a:cxn ang="0">
                    <a:pos x="7" y="21"/>
                  </a:cxn>
                </a:cxnLst>
                <a:rect l="0" t="0" r="r" b="b"/>
                <a:pathLst>
                  <a:path w="407" h="34">
                    <a:moveTo>
                      <a:pt x="7" y="21"/>
                    </a:moveTo>
                    <a:lnTo>
                      <a:pt x="4" y="21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63" y="31"/>
                    </a:lnTo>
                    <a:lnTo>
                      <a:pt x="341" y="22"/>
                    </a:lnTo>
                    <a:lnTo>
                      <a:pt x="377" y="19"/>
                    </a:lnTo>
                    <a:lnTo>
                      <a:pt x="379" y="18"/>
                    </a:lnTo>
                    <a:lnTo>
                      <a:pt x="402" y="11"/>
                    </a:lnTo>
                    <a:lnTo>
                      <a:pt x="404" y="11"/>
                    </a:lnTo>
                    <a:lnTo>
                      <a:pt x="407" y="8"/>
                    </a:lnTo>
                    <a:lnTo>
                      <a:pt x="407" y="6"/>
                    </a:lnTo>
                    <a:lnTo>
                      <a:pt x="406" y="5"/>
                    </a:lnTo>
                    <a:lnTo>
                      <a:pt x="406" y="3"/>
                    </a:lnTo>
                    <a:lnTo>
                      <a:pt x="404" y="1"/>
                    </a:lnTo>
                    <a:lnTo>
                      <a:pt x="404" y="0"/>
                    </a:lnTo>
                    <a:lnTo>
                      <a:pt x="399" y="0"/>
                    </a:lnTo>
                    <a:lnTo>
                      <a:pt x="376" y="6"/>
                    </a:lnTo>
                    <a:lnTo>
                      <a:pt x="339" y="9"/>
                    </a:lnTo>
                    <a:lnTo>
                      <a:pt x="261" y="18"/>
                    </a:lnTo>
                    <a:lnTo>
                      <a:pt x="263" y="18"/>
                    </a:lnTo>
                    <a:lnTo>
                      <a:pt x="7" y="2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Freeform 197">
                <a:extLst>
                  <a:ext uri="{FF2B5EF4-FFF2-40B4-BE49-F238E27FC236}">
                    <a16:creationId xmlns:a16="http://schemas.microsoft.com/office/drawing/2014/main" id="{CA663CAD-7DC2-4B04-ABCB-A8BB542CF25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0" y="3364"/>
                <a:ext cx="94" cy="38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7" y="11"/>
                  </a:cxn>
                  <a:cxn ang="0">
                    <a:pos x="10" y="13"/>
                  </a:cxn>
                  <a:cxn ang="0">
                    <a:pos x="13" y="14"/>
                  </a:cxn>
                  <a:cxn ang="0">
                    <a:pos x="27" y="14"/>
                  </a:cxn>
                  <a:cxn ang="0">
                    <a:pos x="60" y="19"/>
                  </a:cxn>
                  <a:cxn ang="0">
                    <a:pos x="65" y="21"/>
                  </a:cxn>
                  <a:cxn ang="0">
                    <a:pos x="66" y="22"/>
                  </a:cxn>
                  <a:cxn ang="0">
                    <a:pos x="65" y="14"/>
                  </a:cxn>
                  <a:cxn ang="0">
                    <a:pos x="60" y="16"/>
                  </a:cxn>
                  <a:cxn ang="0">
                    <a:pos x="40" y="17"/>
                  </a:cxn>
                  <a:cxn ang="0">
                    <a:pos x="27" y="14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10" y="11"/>
                  </a:cxn>
                  <a:cxn ang="0">
                    <a:pos x="7" y="13"/>
                  </a:cxn>
                  <a:cxn ang="0">
                    <a:pos x="15" y="14"/>
                  </a:cxn>
                  <a:cxn ang="0">
                    <a:pos x="18" y="13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1"/>
                  </a:cxn>
                  <a:cxn ang="0">
                    <a:pos x="10" y="0"/>
                  </a:cxn>
                  <a:cxn ang="0">
                    <a:pos x="0" y="4"/>
                  </a:cxn>
                  <a:cxn ang="0">
                    <a:pos x="2" y="14"/>
                  </a:cxn>
                  <a:cxn ang="0">
                    <a:pos x="7" y="21"/>
                  </a:cxn>
                  <a:cxn ang="0">
                    <a:pos x="22" y="26"/>
                  </a:cxn>
                  <a:cxn ang="0">
                    <a:pos x="38" y="31"/>
                  </a:cxn>
                  <a:cxn ang="0">
                    <a:pos x="61" y="29"/>
                  </a:cxn>
                  <a:cxn ang="0">
                    <a:pos x="70" y="27"/>
                  </a:cxn>
                  <a:cxn ang="0">
                    <a:pos x="73" y="24"/>
                  </a:cxn>
                  <a:cxn ang="0">
                    <a:pos x="75" y="22"/>
                  </a:cxn>
                  <a:cxn ang="0">
                    <a:pos x="76" y="21"/>
                  </a:cxn>
                  <a:cxn ang="0">
                    <a:pos x="76" y="17"/>
                  </a:cxn>
                  <a:cxn ang="0">
                    <a:pos x="70" y="9"/>
                  </a:cxn>
                  <a:cxn ang="0">
                    <a:pos x="61" y="6"/>
                  </a:cxn>
                  <a:cxn ang="0">
                    <a:pos x="28" y="1"/>
                  </a:cxn>
                </a:cxnLst>
                <a:rect l="0" t="0" r="r" b="b"/>
                <a:pathLst>
                  <a:path w="78" h="31">
                    <a:moveTo>
                      <a:pt x="13" y="1"/>
                    </a:moveTo>
                    <a:lnTo>
                      <a:pt x="10" y="1"/>
                    </a:lnTo>
                    <a:lnTo>
                      <a:pt x="7" y="4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3" y="14"/>
                    </a:lnTo>
                    <a:lnTo>
                      <a:pt x="28" y="14"/>
                    </a:lnTo>
                    <a:lnTo>
                      <a:pt x="27" y="14"/>
                    </a:lnTo>
                    <a:lnTo>
                      <a:pt x="43" y="17"/>
                    </a:lnTo>
                    <a:lnTo>
                      <a:pt x="60" y="19"/>
                    </a:lnTo>
                    <a:lnTo>
                      <a:pt x="58" y="17"/>
                    </a:lnTo>
                    <a:lnTo>
                      <a:pt x="65" y="21"/>
                    </a:lnTo>
                    <a:lnTo>
                      <a:pt x="63" y="19"/>
                    </a:lnTo>
                    <a:lnTo>
                      <a:pt x="66" y="22"/>
                    </a:lnTo>
                    <a:lnTo>
                      <a:pt x="68" y="13"/>
                    </a:lnTo>
                    <a:lnTo>
                      <a:pt x="65" y="14"/>
                    </a:lnTo>
                    <a:lnTo>
                      <a:pt x="66" y="14"/>
                    </a:lnTo>
                    <a:lnTo>
                      <a:pt x="60" y="16"/>
                    </a:lnTo>
                    <a:lnTo>
                      <a:pt x="38" y="17"/>
                    </a:lnTo>
                    <a:lnTo>
                      <a:pt x="40" y="17"/>
                    </a:lnTo>
                    <a:lnTo>
                      <a:pt x="25" y="14"/>
                    </a:lnTo>
                    <a:lnTo>
                      <a:pt x="27" y="14"/>
                    </a:lnTo>
                    <a:lnTo>
                      <a:pt x="13" y="9"/>
                    </a:lnTo>
                    <a:lnTo>
                      <a:pt x="15" y="11"/>
                    </a:lnTo>
                    <a:lnTo>
                      <a:pt x="10" y="6"/>
                    </a:lnTo>
                    <a:lnTo>
                      <a:pt x="13" y="11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12" y="9"/>
                    </a:lnTo>
                    <a:lnTo>
                      <a:pt x="7" y="13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7" y="13"/>
                    </a:lnTo>
                    <a:lnTo>
                      <a:pt x="18" y="13"/>
                    </a:lnTo>
                    <a:lnTo>
                      <a:pt x="22" y="9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8" y="3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7" y="19"/>
                    </a:lnTo>
                    <a:lnTo>
                      <a:pt x="7" y="21"/>
                    </a:lnTo>
                    <a:lnTo>
                      <a:pt x="8" y="21"/>
                    </a:lnTo>
                    <a:lnTo>
                      <a:pt x="22" y="26"/>
                    </a:lnTo>
                    <a:lnTo>
                      <a:pt x="23" y="27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61" y="29"/>
                    </a:lnTo>
                    <a:lnTo>
                      <a:pt x="63" y="29"/>
                    </a:lnTo>
                    <a:lnTo>
                      <a:pt x="70" y="27"/>
                    </a:lnTo>
                    <a:lnTo>
                      <a:pt x="70" y="26"/>
                    </a:lnTo>
                    <a:lnTo>
                      <a:pt x="73" y="24"/>
                    </a:lnTo>
                    <a:lnTo>
                      <a:pt x="75" y="24"/>
                    </a:lnTo>
                    <a:lnTo>
                      <a:pt x="75" y="22"/>
                    </a:lnTo>
                    <a:lnTo>
                      <a:pt x="76" y="22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76" y="17"/>
                    </a:lnTo>
                    <a:lnTo>
                      <a:pt x="76" y="16"/>
                    </a:lnTo>
                    <a:lnTo>
                      <a:pt x="70" y="9"/>
                    </a:lnTo>
                    <a:lnTo>
                      <a:pt x="63" y="6"/>
                    </a:lnTo>
                    <a:lnTo>
                      <a:pt x="61" y="6"/>
                    </a:lnTo>
                    <a:lnTo>
                      <a:pt x="45" y="4"/>
                    </a:lnTo>
                    <a:lnTo>
                      <a:pt x="28" y="1"/>
                    </a:lnTo>
                    <a:lnTo>
                      <a:pt x="13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Freeform 198">
                <a:extLst>
                  <a:ext uri="{FF2B5EF4-FFF2-40B4-BE49-F238E27FC236}">
                    <a16:creationId xmlns:a16="http://schemas.microsoft.com/office/drawing/2014/main" id="{68786C9C-AAC3-4D7C-8BB3-AF660E268CD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2" y="3471"/>
                <a:ext cx="105" cy="1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1" y="11"/>
                  </a:cxn>
                  <a:cxn ang="0">
                    <a:pos x="3" y="11"/>
                  </a:cxn>
                  <a:cxn ang="0">
                    <a:pos x="18" y="19"/>
                  </a:cxn>
                  <a:cxn ang="0">
                    <a:pos x="34" y="29"/>
                  </a:cxn>
                  <a:cxn ang="0">
                    <a:pos x="33" y="27"/>
                  </a:cxn>
                  <a:cxn ang="0">
                    <a:pos x="41" y="37"/>
                  </a:cxn>
                  <a:cxn ang="0">
                    <a:pos x="53" y="48"/>
                  </a:cxn>
                  <a:cxn ang="0">
                    <a:pos x="51" y="48"/>
                  </a:cxn>
                  <a:cxn ang="0">
                    <a:pos x="59" y="63"/>
                  </a:cxn>
                  <a:cxn ang="0">
                    <a:pos x="59" y="62"/>
                  </a:cxn>
                  <a:cxn ang="0">
                    <a:pos x="68" y="79"/>
                  </a:cxn>
                  <a:cxn ang="0">
                    <a:pos x="73" y="91"/>
                  </a:cxn>
                  <a:cxn ang="0">
                    <a:pos x="73" y="89"/>
                  </a:cxn>
                  <a:cxn ang="0">
                    <a:pos x="73" y="99"/>
                  </a:cxn>
                  <a:cxn ang="0">
                    <a:pos x="74" y="99"/>
                  </a:cxn>
                  <a:cxn ang="0">
                    <a:pos x="76" y="101"/>
                  </a:cxn>
                  <a:cxn ang="0">
                    <a:pos x="78" y="101"/>
                  </a:cxn>
                  <a:cxn ang="0">
                    <a:pos x="79" y="102"/>
                  </a:cxn>
                  <a:cxn ang="0">
                    <a:pos x="81" y="101"/>
                  </a:cxn>
                  <a:cxn ang="0">
                    <a:pos x="83" y="101"/>
                  </a:cxn>
                  <a:cxn ang="0">
                    <a:pos x="83" y="99"/>
                  </a:cxn>
                  <a:cxn ang="0">
                    <a:pos x="84" y="99"/>
                  </a:cxn>
                  <a:cxn ang="0">
                    <a:pos x="84" y="97"/>
                  </a:cxn>
                  <a:cxn ang="0">
                    <a:pos x="86" y="96"/>
                  </a:cxn>
                  <a:cxn ang="0">
                    <a:pos x="86" y="89"/>
                  </a:cxn>
                  <a:cxn ang="0">
                    <a:pos x="86" y="88"/>
                  </a:cxn>
                  <a:cxn ang="0">
                    <a:pos x="84" y="86"/>
                  </a:cxn>
                  <a:cxn ang="0">
                    <a:pos x="79" y="75"/>
                  </a:cxn>
                  <a:cxn ang="0">
                    <a:pos x="71" y="57"/>
                  </a:cxn>
                  <a:cxn ang="0">
                    <a:pos x="63" y="42"/>
                  </a:cxn>
                  <a:cxn ang="0">
                    <a:pos x="49" y="29"/>
                  </a:cxn>
                  <a:cxn ang="0">
                    <a:pos x="51" y="29"/>
                  </a:cxn>
                  <a:cxn ang="0">
                    <a:pos x="43" y="19"/>
                  </a:cxn>
                  <a:cxn ang="0">
                    <a:pos x="41" y="17"/>
                  </a:cxn>
                  <a:cxn ang="0">
                    <a:pos x="24" y="8"/>
                  </a:cxn>
                  <a:cxn ang="0">
                    <a:pos x="10" y="0"/>
                  </a:cxn>
                </a:cxnLst>
                <a:rect l="0" t="0" r="r" b="b"/>
                <a:pathLst>
                  <a:path w="86" h="10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1"/>
                    </a:lnTo>
                    <a:lnTo>
                      <a:pt x="18" y="19"/>
                    </a:lnTo>
                    <a:lnTo>
                      <a:pt x="34" y="29"/>
                    </a:lnTo>
                    <a:lnTo>
                      <a:pt x="33" y="27"/>
                    </a:lnTo>
                    <a:lnTo>
                      <a:pt x="41" y="37"/>
                    </a:lnTo>
                    <a:lnTo>
                      <a:pt x="53" y="48"/>
                    </a:lnTo>
                    <a:lnTo>
                      <a:pt x="51" y="48"/>
                    </a:lnTo>
                    <a:lnTo>
                      <a:pt x="59" y="63"/>
                    </a:lnTo>
                    <a:lnTo>
                      <a:pt x="59" y="62"/>
                    </a:lnTo>
                    <a:lnTo>
                      <a:pt x="68" y="79"/>
                    </a:lnTo>
                    <a:lnTo>
                      <a:pt x="73" y="91"/>
                    </a:lnTo>
                    <a:lnTo>
                      <a:pt x="73" y="89"/>
                    </a:lnTo>
                    <a:lnTo>
                      <a:pt x="73" y="99"/>
                    </a:lnTo>
                    <a:lnTo>
                      <a:pt x="74" y="99"/>
                    </a:lnTo>
                    <a:lnTo>
                      <a:pt x="76" y="101"/>
                    </a:lnTo>
                    <a:lnTo>
                      <a:pt x="78" y="101"/>
                    </a:lnTo>
                    <a:lnTo>
                      <a:pt x="79" y="102"/>
                    </a:lnTo>
                    <a:lnTo>
                      <a:pt x="81" y="101"/>
                    </a:lnTo>
                    <a:lnTo>
                      <a:pt x="83" y="101"/>
                    </a:lnTo>
                    <a:lnTo>
                      <a:pt x="83" y="99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6" y="96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4" y="86"/>
                    </a:lnTo>
                    <a:lnTo>
                      <a:pt x="79" y="75"/>
                    </a:lnTo>
                    <a:lnTo>
                      <a:pt x="71" y="57"/>
                    </a:lnTo>
                    <a:lnTo>
                      <a:pt x="63" y="42"/>
                    </a:lnTo>
                    <a:lnTo>
                      <a:pt x="49" y="29"/>
                    </a:lnTo>
                    <a:lnTo>
                      <a:pt x="51" y="29"/>
                    </a:lnTo>
                    <a:lnTo>
                      <a:pt x="43" y="19"/>
                    </a:lnTo>
                    <a:lnTo>
                      <a:pt x="41" y="17"/>
                    </a:lnTo>
                    <a:lnTo>
                      <a:pt x="24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Freeform 199">
                <a:extLst>
                  <a:ext uri="{FF2B5EF4-FFF2-40B4-BE49-F238E27FC236}">
                    <a16:creationId xmlns:a16="http://schemas.microsoft.com/office/drawing/2014/main" id="{10FCB53F-9DF3-4261-8F92-B9D9E81D15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8" y="3467"/>
                <a:ext cx="91" cy="12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17" y="27"/>
                  </a:cxn>
                  <a:cxn ang="0">
                    <a:pos x="17" y="29"/>
                  </a:cxn>
                  <a:cxn ang="0">
                    <a:pos x="27" y="37"/>
                  </a:cxn>
                  <a:cxn ang="0">
                    <a:pos x="25" y="35"/>
                  </a:cxn>
                  <a:cxn ang="0">
                    <a:pos x="35" y="48"/>
                  </a:cxn>
                  <a:cxn ang="0">
                    <a:pos x="47" y="66"/>
                  </a:cxn>
                  <a:cxn ang="0">
                    <a:pos x="55" y="78"/>
                  </a:cxn>
                  <a:cxn ang="0">
                    <a:pos x="55" y="76"/>
                  </a:cxn>
                  <a:cxn ang="0">
                    <a:pos x="60" y="88"/>
                  </a:cxn>
                  <a:cxn ang="0">
                    <a:pos x="60" y="86"/>
                  </a:cxn>
                  <a:cxn ang="0">
                    <a:pos x="62" y="94"/>
                  </a:cxn>
                  <a:cxn ang="0">
                    <a:pos x="62" y="96"/>
                  </a:cxn>
                  <a:cxn ang="0">
                    <a:pos x="63" y="97"/>
                  </a:cxn>
                  <a:cxn ang="0">
                    <a:pos x="63" y="99"/>
                  </a:cxn>
                  <a:cxn ang="0">
                    <a:pos x="65" y="99"/>
                  </a:cxn>
                  <a:cxn ang="0">
                    <a:pos x="67" y="101"/>
                  </a:cxn>
                  <a:cxn ang="0">
                    <a:pos x="68" y="101"/>
                  </a:cxn>
                  <a:cxn ang="0">
                    <a:pos x="70" y="99"/>
                  </a:cxn>
                  <a:cxn ang="0">
                    <a:pos x="72" y="99"/>
                  </a:cxn>
                  <a:cxn ang="0">
                    <a:pos x="73" y="97"/>
                  </a:cxn>
                  <a:cxn ang="0">
                    <a:pos x="73" y="96"/>
                  </a:cxn>
                  <a:cxn ang="0">
                    <a:pos x="75" y="94"/>
                  </a:cxn>
                  <a:cxn ang="0">
                    <a:pos x="75" y="93"/>
                  </a:cxn>
                  <a:cxn ang="0">
                    <a:pos x="73" y="84"/>
                  </a:cxn>
                  <a:cxn ang="0">
                    <a:pos x="72" y="83"/>
                  </a:cxn>
                  <a:cxn ang="0">
                    <a:pos x="67" y="71"/>
                  </a:cxn>
                  <a:cxn ang="0">
                    <a:pos x="67" y="70"/>
                  </a:cxn>
                  <a:cxn ang="0">
                    <a:pos x="58" y="58"/>
                  </a:cxn>
                  <a:cxn ang="0">
                    <a:pos x="47" y="40"/>
                  </a:cxn>
                  <a:cxn ang="0">
                    <a:pos x="37" y="27"/>
                  </a:cxn>
                  <a:cxn ang="0">
                    <a:pos x="35" y="27"/>
                  </a:cxn>
                  <a:cxn ang="0">
                    <a:pos x="25" y="19"/>
                  </a:cxn>
                  <a:cxn ang="0">
                    <a:pos x="27" y="19"/>
                  </a:cxn>
                  <a:cxn ang="0">
                    <a:pos x="12" y="1"/>
                  </a:cxn>
                </a:cxnLst>
                <a:rect l="0" t="0" r="r" b="b"/>
                <a:pathLst>
                  <a:path w="75" h="101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35" y="48"/>
                    </a:lnTo>
                    <a:lnTo>
                      <a:pt x="47" y="66"/>
                    </a:lnTo>
                    <a:lnTo>
                      <a:pt x="55" y="78"/>
                    </a:lnTo>
                    <a:lnTo>
                      <a:pt x="55" y="76"/>
                    </a:lnTo>
                    <a:lnTo>
                      <a:pt x="60" y="88"/>
                    </a:lnTo>
                    <a:lnTo>
                      <a:pt x="60" y="86"/>
                    </a:lnTo>
                    <a:lnTo>
                      <a:pt x="62" y="94"/>
                    </a:lnTo>
                    <a:lnTo>
                      <a:pt x="62" y="96"/>
                    </a:lnTo>
                    <a:lnTo>
                      <a:pt x="63" y="97"/>
                    </a:lnTo>
                    <a:lnTo>
                      <a:pt x="63" y="99"/>
                    </a:lnTo>
                    <a:lnTo>
                      <a:pt x="65" y="99"/>
                    </a:lnTo>
                    <a:lnTo>
                      <a:pt x="67" y="101"/>
                    </a:lnTo>
                    <a:lnTo>
                      <a:pt x="68" y="101"/>
                    </a:lnTo>
                    <a:lnTo>
                      <a:pt x="70" y="99"/>
                    </a:lnTo>
                    <a:lnTo>
                      <a:pt x="72" y="99"/>
                    </a:lnTo>
                    <a:lnTo>
                      <a:pt x="73" y="97"/>
                    </a:lnTo>
                    <a:lnTo>
                      <a:pt x="73" y="96"/>
                    </a:lnTo>
                    <a:lnTo>
                      <a:pt x="75" y="94"/>
                    </a:lnTo>
                    <a:lnTo>
                      <a:pt x="75" y="93"/>
                    </a:lnTo>
                    <a:lnTo>
                      <a:pt x="73" y="84"/>
                    </a:lnTo>
                    <a:lnTo>
                      <a:pt x="72" y="83"/>
                    </a:lnTo>
                    <a:lnTo>
                      <a:pt x="67" y="71"/>
                    </a:lnTo>
                    <a:lnTo>
                      <a:pt x="67" y="70"/>
                    </a:lnTo>
                    <a:lnTo>
                      <a:pt x="58" y="58"/>
                    </a:lnTo>
                    <a:lnTo>
                      <a:pt x="47" y="4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Freeform 200">
                <a:extLst>
                  <a:ext uri="{FF2B5EF4-FFF2-40B4-BE49-F238E27FC236}">
                    <a16:creationId xmlns:a16="http://schemas.microsoft.com/office/drawing/2014/main" id="{38342DB1-FD5B-4C34-85C3-6798DAB447C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7" y="3474"/>
                <a:ext cx="73" cy="10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14" y="23"/>
                  </a:cxn>
                  <a:cxn ang="0">
                    <a:pos x="12" y="23"/>
                  </a:cxn>
                  <a:cxn ang="0">
                    <a:pos x="23" y="37"/>
                  </a:cxn>
                  <a:cxn ang="0">
                    <a:pos x="35" y="54"/>
                  </a:cxn>
                  <a:cxn ang="0">
                    <a:pos x="42" y="63"/>
                  </a:cxn>
                  <a:cxn ang="0">
                    <a:pos x="42" y="62"/>
                  </a:cxn>
                  <a:cxn ang="0">
                    <a:pos x="45" y="72"/>
                  </a:cxn>
                  <a:cxn ang="0">
                    <a:pos x="45" y="70"/>
                  </a:cxn>
                  <a:cxn ang="0">
                    <a:pos x="47" y="78"/>
                  </a:cxn>
                  <a:cxn ang="0">
                    <a:pos x="47" y="80"/>
                  </a:cxn>
                  <a:cxn ang="0">
                    <a:pos x="48" y="81"/>
                  </a:cxn>
                  <a:cxn ang="0">
                    <a:pos x="48" y="83"/>
                  </a:cxn>
                  <a:cxn ang="0">
                    <a:pos x="50" y="83"/>
                  </a:cxn>
                  <a:cxn ang="0">
                    <a:pos x="52" y="85"/>
                  </a:cxn>
                  <a:cxn ang="0">
                    <a:pos x="53" y="85"/>
                  </a:cxn>
                  <a:cxn ang="0">
                    <a:pos x="55" y="83"/>
                  </a:cxn>
                  <a:cxn ang="0">
                    <a:pos x="57" y="83"/>
                  </a:cxn>
                  <a:cxn ang="0">
                    <a:pos x="58" y="81"/>
                  </a:cxn>
                  <a:cxn ang="0">
                    <a:pos x="58" y="80"/>
                  </a:cxn>
                  <a:cxn ang="0">
                    <a:pos x="60" y="78"/>
                  </a:cxn>
                  <a:cxn ang="0">
                    <a:pos x="60" y="77"/>
                  </a:cxn>
                  <a:cxn ang="0">
                    <a:pos x="58" y="68"/>
                  </a:cxn>
                  <a:cxn ang="0">
                    <a:pos x="57" y="67"/>
                  </a:cxn>
                  <a:cxn ang="0">
                    <a:pos x="53" y="57"/>
                  </a:cxn>
                  <a:cxn ang="0">
                    <a:pos x="53" y="55"/>
                  </a:cxn>
                  <a:cxn ang="0">
                    <a:pos x="47" y="46"/>
                  </a:cxn>
                  <a:cxn ang="0">
                    <a:pos x="35" y="29"/>
                  </a:cxn>
                  <a:cxn ang="0">
                    <a:pos x="23" y="15"/>
                  </a:cxn>
                  <a:cxn ang="0">
                    <a:pos x="12" y="1"/>
                  </a:cxn>
                </a:cxnLst>
                <a:rect l="0" t="0" r="r" b="b"/>
                <a:pathLst>
                  <a:path w="60" h="85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23" y="37"/>
                    </a:lnTo>
                    <a:lnTo>
                      <a:pt x="35" y="54"/>
                    </a:lnTo>
                    <a:lnTo>
                      <a:pt x="42" y="63"/>
                    </a:lnTo>
                    <a:lnTo>
                      <a:pt x="42" y="62"/>
                    </a:lnTo>
                    <a:lnTo>
                      <a:pt x="45" y="72"/>
                    </a:lnTo>
                    <a:lnTo>
                      <a:pt x="45" y="70"/>
                    </a:lnTo>
                    <a:lnTo>
                      <a:pt x="47" y="78"/>
                    </a:lnTo>
                    <a:lnTo>
                      <a:pt x="47" y="80"/>
                    </a:lnTo>
                    <a:lnTo>
                      <a:pt x="48" y="81"/>
                    </a:lnTo>
                    <a:lnTo>
                      <a:pt x="48" y="83"/>
                    </a:lnTo>
                    <a:lnTo>
                      <a:pt x="50" y="83"/>
                    </a:lnTo>
                    <a:lnTo>
                      <a:pt x="52" y="85"/>
                    </a:lnTo>
                    <a:lnTo>
                      <a:pt x="53" y="85"/>
                    </a:lnTo>
                    <a:lnTo>
                      <a:pt x="55" y="83"/>
                    </a:lnTo>
                    <a:lnTo>
                      <a:pt x="57" y="83"/>
                    </a:lnTo>
                    <a:lnTo>
                      <a:pt x="58" y="81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7"/>
                    </a:lnTo>
                    <a:lnTo>
                      <a:pt x="58" y="68"/>
                    </a:lnTo>
                    <a:lnTo>
                      <a:pt x="57" y="67"/>
                    </a:lnTo>
                    <a:lnTo>
                      <a:pt x="53" y="57"/>
                    </a:lnTo>
                    <a:lnTo>
                      <a:pt x="53" y="55"/>
                    </a:lnTo>
                    <a:lnTo>
                      <a:pt x="47" y="46"/>
                    </a:lnTo>
                    <a:lnTo>
                      <a:pt x="35" y="29"/>
                    </a:lnTo>
                    <a:lnTo>
                      <a:pt x="23" y="15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Freeform 201">
                <a:extLst>
                  <a:ext uri="{FF2B5EF4-FFF2-40B4-BE49-F238E27FC236}">
                    <a16:creationId xmlns:a16="http://schemas.microsoft.com/office/drawing/2014/main" id="{24C11EC4-D790-4113-BC78-6D50036935F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2" y="3496"/>
                <a:ext cx="28" cy="1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4"/>
                  </a:cxn>
                  <a:cxn ang="0">
                    <a:pos x="15" y="15"/>
                  </a:cxn>
                  <a:cxn ang="0">
                    <a:pos x="16" y="15"/>
                  </a:cxn>
                  <a:cxn ang="0">
                    <a:pos x="18" y="14"/>
                  </a:cxn>
                  <a:cxn ang="0">
                    <a:pos x="20" y="14"/>
                  </a:cxn>
                  <a:cxn ang="0">
                    <a:pos x="21" y="12"/>
                  </a:cxn>
                  <a:cxn ang="0">
                    <a:pos x="21" y="10"/>
                  </a:cxn>
                  <a:cxn ang="0">
                    <a:pos x="23" y="9"/>
                  </a:cxn>
                  <a:cxn ang="0">
                    <a:pos x="23" y="7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6" y="2"/>
                  </a:cxn>
                  <a:cxn ang="0">
                    <a:pos x="7" y="0"/>
                  </a:cxn>
                </a:cxnLst>
                <a:rect l="0" t="0" r="r" b="b"/>
                <a:pathLst>
                  <a:path w="23" h="15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15" y="15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Freeform 202">
                <a:extLst>
                  <a:ext uri="{FF2B5EF4-FFF2-40B4-BE49-F238E27FC236}">
                    <a16:creationId xmlns:a16="http://schemas.microsoft.com/office/drawing/2014/main" id="{CB424679-85B8-4C99-AAB3-AEE4AF2AB43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3518"/>
                <a:ext cx="53" cy="3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32" y="31"/>
                  </a:cxn>
                  <a:cxn ang="0">
                    <a:pos x="34" y="31"/>
                  </a:cxn>
                  <a:cxn ang="0">
                    <a:pos x="35" y="32"/>
                  </a:cxn>
                  <a:cxn ang="0">
                    <a:pos x="37" y="32"/>
                  </a:cxn>
                  <a:cxn ang="0">
                    <a:pos x="39" y="31"/>
                  </a:cxn>
                  <a:cxn ang="0">
                    <a:pos x="40" y="31"/>
                  </a:cxn>
                  <a:cxn ang="0">
                    <a:pos x="42" y="29"/>
                  </a:cxn>
                  <a:cxn ang="0">
                    <a:pos x="42" y="27"/>
                  </a:cxn>
                  <a:cxn ang="0">
                    <a:pos x="44" y="26"/>
                  </a:cxn>
                  <a:cxn ang="0">
                    <a:pos x="44" y="24"/>
                  </a:cxn>
                  <a:cxn ang="0">
                    <a:pos x="42" y="22"/>
                  </a:cxn>
                  <a:cxn ang="0">
                    <a:pos x="42" y="21"/>
                  </a:cxn>
                  <a:cxn ang="0">
                    <a:pos x="40" y="19"/>
                  </a:cxn>
                  <a:cxn ang="0">
                    <a:pos x="10" y="0"/>
                  </a:cxn>
                </a:cxnLst>
                <a:rect l="0" t="0" r="r" b="b"/>
                <a:pathLst>
                  <a:path w="44" h="32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32" y="31"/>
                    </a:lnTo>
                    <a:lnTo>
                      <a:pt x="34" y="31"/>
                    </a:lnTo>
                    <a:lnTo>
                      <a:pt x="35" y="32"/>
                    </a:lnTo>
                    <a:lnTo>
                      <a:pt x="37" y="32"/>
                    </a:lnTo>
                    <a:lnTo>
                      <a:pt x="39" y="31"/>
                    </a:lnTo>
                    <a:lnTo>
                      <a:pt x="40" y="31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2" y="22"/>
                    </a:lnTo>
                    <a:lnTo>
                      <a:pt x="42" y="21"/>
                    </a:lnTo>
                    <a:lnTo>
                      <a:pt x="40" y="1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" name="Freeform 203">
                <a:extLst>
                  <a:ext uri="{FF2B5EF4-FFF2-40B4-BE49-F238E27FC236}">
                    <a16:creationId xmlns:a16="http://schemas.microsoft.com/office/drawing/2014/main" id="{CFFCE23B-9249-41F5-998F-9663D8CCA24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3" y="3464"/>
                <a:ext cx="113" cy="123"/>
              </a:xfrm>
              <a:custGeom>
                <a:avLst/>
                <a:gdLst/>
                <a:ahLst/>
                <a:cxnLst>
                  <a:cxn ang="0">
                    <a:pos x="91" y="8"/>
                  </a:cxn>
                  <a:cxn ang="0">
                    <a:pos x="93" y="6"/>
                  </a:cxn>
                  <a:cxn ang="0">
                    <a:pos x="93" y="4"/>
                  </a:cxn>
                  <a:cxn ang="0">
                    <a:pos x="91" y="3"/>
                  </a:cxn>
                  <a:cxn ang="0">
                    <a:pos x="91" y="1"/>
                  </a:cxn>
                  <a:cxn ang="0">
                    <a:pos x="89" y="0"/>
                  </a:cxn>
                  <a:cxn ang="0">
                    <a:pos x="83" y="0"/>
                  </a:cxn>
                  <a:cxn ang="0">
                    <a:pos x="79" y="3"/>
                  </a:cxn>
                  <a:cxn ang="0">
                    <a:pos x="74" y="19"/>
                  </a:cxn>
                  <a:cxn ang="0">
                    <a:pos x="66" y="37"/>
                  </a:cxn>
                  <a:cxn ang="0">
                    <a:pos x="66" y="35"/>
                  </a:cxn>
                  <a:cxn ang="0">
                    <a:pos x="51" y="55"/>
                  </a:cxn>
                  <a:cxn ang="0">
                    <a:pos x="51" y="57"/>
                  </a:cxn>
                  <a:cxn ang="0">
                    <a:pos x="46" y="65"/>
                  </a:cxn>
                  <a:cxn ang="0">
                    <a:pos x="48" y="63"/>
                  </a:cxn>
                  <a:cxn ang="0">
                    <a:pos x="39" y="70"/>
                  </a:cxn>
                  <a:cxn ang="0">
                    <a:pos x="39" y="68"/>
                  </a:cxn>
                  <a:cxn ang="0">
                    <a:pos x="28" y="76"/>
                  </a:cxn>
                  <a:cxn ang="0">
                    <a:pos x="30" y="76"/>
                  </a:cxn>
                  <a:cxn ang="0">
                    <a:pos x="15" y="84"/>
                  </a:cxn>
                  <a:cxn ang="0">
                    <a:pos x="16" y="84"/>
                  </a:cxn>
                  <a:cxn ang="0">
                    <a:pos x="5" y="88"/>
                  </a:cxn>
                  <a:cxn ang="0">
                    <a:pos x="3" y="88"/>
                  </a:cxn>
                  <a:cxn ang="0">
                    <a:pos x="0" y="91"/>
                  </a:cxn>
                  <a:cxn ang="0">
                    <a:pos x="0" y="97"/>
                  </a:cxn>
                  <a:cxn ang="0">
                    <a:pos x="1" y="99"/>
                  </a:cxn>
                  <a:cxn ang="0">
                    <a:pos x="3" y="99"/>
                  </a:cxn>
                  <a:cxn ang="0">
                    <a:pos x="5" y="101"/>
                  </a:cxn>
                  <a:cxn ang="0">
                    <a:pos x="6" y="101"/>
                  </a:cxn>
                  <a:cxn ang="0">
                    <a:pos x="8" y="99"/>
                  </a:cxn>
                  <a:cxn ang="0">
                    <a:pos x="20" y="96"/>
                  </a:cxn>
                  <a:cxn ang="0">
                    <a:pos x="21" y="96"/>
                  </a:cxn>
                  <a:cxn ang="0">
                    <a:pos x="36" y="88"/>
                  </a:cxn>
                  <a:cxn ang="0">
                    <a:pos x="48" y="80"/>
                  </a:cxn>
                  <a:cxn ang="0">
                    <a:pos x="56" y="73"/>
                  </a:cxn>
                  <a:cxn ang="0">
                    <a:pos x="58" y="71"/>
                  </a:cxn>
                  <a:cxn ang="0">
                    <a:pos x="63" y="63"/>
                  </a:cxn>
                  <a:cxn ang="0">
                    <a:pos x="78" y="44"/>
                  </a:cxn>
                  <a:cxn ang="0">
                    <a:pos x="78" y="42"/>
                  </a:cxn>
                  <a:cxn ang="0">
                    <a:pos x="86" y="24"/>
                  </a:cxn>
                  <a:cxn ang="0">
                    <a:pos x="91" y="8"/>
                  </a:cxn>
                </a:cxnLst>
                <a:rect l="0" t="0" r="r" b="b"/>
                <a:pathLst>
                  <a:path w="93" h="101">
                    <a:moveTo>
                      <a:pt x="91" y="8"/>
                    </a:moveTo>
                    <a:lnTo>
                      <a:pt x="93" y="6"/>
                    </a:lnTo>
                    <a:lnTo>
                      <a:pt x="93" y="4"/>
                    </a:lnTo>
                    <a:lnTo>
                      <a:pt x="91" y="3"/>
                    </a:lnTo>
                    <a:lnTo>
                      <a:pt x="91" y="1"/>
                    </a:lnTo>
                    <a:lnTo>
                      <a:pt x="89" y="0"/>
                    </a:lnTo>
                    <a:lnTo>
                      <a:pt x="83" y="0"/>
                    </a:lnTo>
                    <a:lnTo>
                      <a:pt x="79" y="3"/>
                    </a:lnTo>
                    <a:lnTo>
                      <a:pt x="74" y="19"/>
                    </a:lnTo>
                    <a:lnTo>
                      <a:pt x="66" y="37"/>
                    </a:lnTo>
                    <a:lnTo>
                      <a:pt x="66" y="35"/>
                    </a:lnTo>
                    <a:lnTo>
                      <a:pt x="51" y="55"/>
                    </a:lnTo>
                    <a:lnTo>
                      <a:pt x="51" y="57"/>
                    </a:lnTo>
                    <a:lnTo>
                      <a:pt x="46" y="65"/>
                    </a:lnTo>
                    <a:lnTo>
                      <a:pt x="48" y="63"/>
                    </a:lnTo>
                    <a:lnTo>
                      <a:pt x="39" y="70"/>
                    </a:lnTo>
                    <a:lnTo>
                      <a:pt x="39" y="68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15" y="84"/>
                    </a:lnTo>
                    <a:lnTo>
                      <a:pt x="16" y="84"/>
                    </a:lnTo>
                    <a:lnTo>
                      <a:pt x="5" y="88"/>
                    </a:lnTo>
                    <a:lnTo>
                      <a:pt x="3" y="88"/>
                    </a:lnTo>
                    <a:lnTo>
                      <a:pt x="0" y="91"/>
                    </a:lnTo>
                    <a:lnTo>
                      <a:pt x="0" y="97"/>
                    </a:lnTo>
                    <a:lnTo>
                      <a:pt x="1" y="99"/>
                    </a:lnTo>
                    <a:lnTo>
                      <a:pt x="3" y="99"/>
                    </a:lnTo>
                    <a:lnTo>
                      <a:pt x="5" y="101"/>
                    </a:lnTo>
                    <a:lnTo>
                      <a:pt x="6" y="101"/>
                    </a:lnTo>
                    <a:lnTo>
                      <a:pt x="8" y="99"/>
                    </a:lnTo>
                    <a:lnTo>
                      <a:pt x="20" y="96"/>
                    </a:lnTo>
                    <a:lnTo>
                      <a:pt x="21" y="96"/>
                    </a:lnTo>
                    <a:lnTo>
                      <a:pt x="36" y="88"/>
                    </a:lnTo>
                    <a:lnTo>
                      <a:pt x="48" y="80"/>
                    </a:lnTo>
                    <a:lnTo>
                      <a:pt x="56" y="73"/>
                    </a:lnTo>
                    <a:lnTo>
                      <a:pt x="58" y="71"/>
                    </a:lnTo>
                    <a:lnTo>
                      <a:pt x="63" y="63"/>
                    </a:lnTo>
                    <a:lnTo>
                      <a:pt x="78" y="44"/>
                    </a:lnTo>
                    <a:lnTo>
                      <a:pt x="78" y="42"/>
                    </a:lnTo>
                    <a:lnTo>
                      <a:pt x="86" y="24"/>
                    </a:lnTo>
                    <a:lnTo>
                      <a:pt x="91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Freeform 204">
                <a:extLst>
                  <a:ext uri="{FF2B5EF4-FFF2-40B4-BE49-F238E27FC236}">
                    <a16:creationId xmlns:a16="http://schemas.microsoft.com/office/drawing/2014/main" id="{46B1663A-9B14-403E-9EEE-8EAD2C1F110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9" y="3478"/>
                <a:ext cx="85" cy="99"/>
              </a:xfrm>
              <a:custGeom>
                <a:avLst/>
                <a:gdLst/>
                <a:ahLst/>
                <a:cxnLst>
                  <a:cxn ang="0">
                    <a:pos x="68" y="8"/>
                  </a:cxn>
                  <a:cxn ang="0">
                    <a:pos x="70" y="6"/>
                  </a:cxn>
                  <a:cxn ang="0">
                    <a:pos x="70" y="4"/>
                  </a:cxn>
                  <a:cxn ang="0">
                    <a:pos x="68" y="3"/>
                  </a:cxn>
                  <a:cxn ang="0">
                    <a:pos x="68" y="1"/>
                  </a:cxn>
                  <a:cxn ang="0">
                    <a:pos x="66" y="0"/>
                  </a:cxn>
                  <a:cxn ang="0">
                    <a:pos x="60" y="0"/>
                  </a:cxn>
                  <a:cxn ang="0">
                    <a:pos x="58" y="1"/>
                  </a:cxn>
                  <a:cxn ang="0">
                    <a:pos x="56" y="1"/>
                  </a:cxn>
                  <a:cxn ang="0">
                    <a:pos x="56" y="3"/>
                  </a:cxn>
                  <a:cxn ang="0">
                    <a:pos x="53" y="13"/>
                  </a:cxn>
                  <a:cxn ang="0">
                    <a:pos x="48" y="24"/>
                  </a:cxn>
                  <a:cxn ang="0">
                    <a:pos x="48" y="22"/>
                  </a:cxn>
                  <a:cxn ang="0">
                    <a:pos x="36" y="37"/>
                  </a:cxn>
                  <a:cxn ang="0">
                    <a:pos x="28" y="49"/>
                  </a:cxn>
                  <a:cxn ang="0">
                    <a:pos x="30" y="49"/>
                  </a:cxn>
                  <a:cxn ang="0">
                    <a:pos x="10" y="68"/>
                  </a:cxn>
                  <a:cxn ang="0">
                    <a:pos x="13" y="66"/>
                  </a:cxn>
                  <a:cxn ang="0">
                    <a:pos x="5" y="68"/>
                  </a:cxn>
                  <a:cxn ang="0">
                    <a:pos x="3" y="68"/>
                  </a:cxn>
                  <a:cxn ang="0">
                    <a:pos x="2" y="70"/>
                  </a:cxn>
                  <a:cxn ang="0">
                    <a:pos x="0" y="70"/>
                  </a:cxn>
                  <a:cxn ang="0">
                    <a:pos x="0" y="76"/>
                  </a:cxn>
                  <a:cxn ang="0">
                    <a:pos x="2" y="78"/>
                  </a:cxn>
                  <a:cxn ang="0">
                    <a:pos x="2" y="80"/>
                  </a:cxn>
                  <a:cxn ang="0">
                    <a:pos x="3" y="80"/>
                  </a:cxn>
                  <a:cxn ang="0">
                    <a:pos x="5" y="81"/>
                  </a:cxn>
                  <a:cxn ang="0">
                    <a:pos x="7" y="81"/>
                  </a:cxn>
                  <a:cxn ang="0">
                    <a:pos x="15" y="80"/>
                  </a:cxn>
                  <a:cxn ang="0">
                    <a:pos x="17" y="78"/>
                  </a:cxn>
                  <a:cxn ang="0">
                    <a:pos x="18" y="78"/>
                  </a:cxn>
                  <a:cxn ang="0">
                    <a:pos x="18" y="76"/>
                  </a:cxn>
                  <a:cxn ang="0">
                    <a:pos x="38" y="57"/>
                  </a:cxn>
                  <a:cxn ang="0">
                    <a:pos x="40" y="57"/>
                  </a:cxn>
                  <a:cxn ang="0">
                    <a:pos x="48" y="45"/>
                  </a:cxn>
                  <a:cxn ang="0">
                    <a:pos x="60" y="31"/>
                  </a:cxn>
                  <a:cxn ang="0">
                    <a:pos x="60" y="29"/>
                  </a:cxn>
                  <a:cxn ang="0">
                    <a:pos x="65" y="18"/>
                  </a:cxn>
                  <a:cxn ang="0">
                    <a:pos x="68" y="8"/>
                  </a:cxn>
                </a:cxnLst>
                <a:rect l="0" t="0" r="r" b="b"/>
                <a:pathLst>
                  <a:path w="70" h="81">
                    <a:moveTo>
                      <a:pt x="68" y="8"/>
                    </a:moveTo>
                    <a:lnTo>
                      <a:pt x="70" y="6"/>
                    </a:lnTo>
                    <a:lnTo>
                      <a:pt x="70" y="4"/>
                    </a:lnTo>
                    <a:lnTo>
                      <a:pt x="68" y="3"/>
                    </a:lnTo>
                    <a:lnTo>
                      <a:pt x="68" y="1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58" y="1"/>
                    </a:lnTo>
                    <a:lnTo>
                      <a:pt x="56" y="1"/>
                    </a:lnTo>
                    <a:lnTo>
                      <a:pt x="56" y="3"/>
                    </a:lnTo>
                    <a:lnTo>
                      <a:pt x="53" y="13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36" y="37"/>
                    </a:lnTo>
                    <a:lnTo>
                      <a:pt x="28" y="49"/>
                    </a:lnTo>
                    <a:lnTo>
                      <a:pt x="30" y="49"/>
                    </a:lnTo>
                    <a:lnTo>
                      <a:pt x="10" y="68"/>
                    </a:lnTo>
                    <a:lnTo>
                      <a:pt x="13" y="66"/>
                    </a:lnTo>
                    <a:lnTo>
                      <a:pt x="5" y="68"/>
                    </a:lnTo>
                    <a:lnTo>
                      <a:pt x="3" y="68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0" y="76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3" y="80"/>
                    </a:lnTo>
                    <a:lnTo>
                      <a:pt x="5" y="81"/>
                    </a:lnTo>
                    <a:lnTo>
                      <a:pt x="7" y="81"/>
                    </a:lnTo>
                    <a:lnTo>
                      <a:pt x="15" y="80"/>
                    </a:lnTo>
                    <a:lnTo>
                      <a:pt x="17" y="78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38" y="57"/>
                    </a:lnTo>
                    <a:lnTo>
                      <a:pt x="40" y="57"/>
                    </a:lnTo>
                    <a:lnTo>
                      <a:pt x="48" y="45"/>
                    </a:lnTo>
                    <a:lnTo>
                      <a:pt x="60" y="31"/>
                    </a:lnTo>
                    <a:lnTo>
                      <a:pt x="60" y="29"/>
                    </a:lnTo>
                    <a:lnTo>
                      <a:pt x="65" y="18"/>
                    </a:lnTo>
                    <a:lnTo>
                      <a:pt x="68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Freeform 205">
                <a:extLst>
                  <a:ext uri="{FF2B5EF4-FFF2-40B4-BE49-F238E27FC236}">
                    <a16:creationId xmlns:a16="http://schemas.microsoft.com/office/drawing/2014/main" id="{3C0BFF3E-BA24-4BF0-876F-E6C46CA1AE6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55" y="3472"/>
                <a:ext cx="76" cy="97"/>
              </a:xfrm>
              <a:custGeom>
                <a:avLst/>
                <a:gdLst/>
                <a:ahLst/>
                <a:cxnLst>
                  <a:cxn ang="0">
                    <a:pos x="62" y="8"/>
                  </a:cxn>
                  <a:cxn ang="0">
                    <a:pos x="63" y="7"/>
                  </a:cxn>
                  <a:cxn ang="0">
                    <a:pos x="63" y="5"/>
                  </a:cxn>
                  <a:cxn ang="0">
                    <a:pos x="62" y="3"/>
                  </a:cxn>
                  <a:cxn ang="0">
                    <a:pos x="62" y="2"/>
                  </a:cxn>
                  <a:cxn ang="0">
                    <a:pos x="60" y="0"/>
                  </a:cxn>
                  <a:cxn ang="0">
                    <a:pos x="53" y="0"/>
                  </a:cxn>
                  <a:cxn ang="0">
                    <a:pos x="52" y="2"/>
                  </a:cxn>
                  <a:cxn ang="0">
                    <a:pos x="50" y="2"/>
                  </a:cxn>
                  <a:cxn ang="0">
                    <a:pos x="50" y="3"/>
                  </a:cxn>
                  <a:cxn ang="0">
                    <a:pos x="47" y="13"/>
                  </a:cxn>
                  <a:cxn ang="0">
                    <a:pos x="40" y="26"/>
                  </a:cxn>
                  <a:cxn ang="0">
                    <a:pos x="40" y="25"/>
                  </a:cxn>
                  <a:cxn ang="0">
                    <a:pos x="30" y="39"/>
                  </a:cxn>
                  <a:cxn ang="0">
                    <a:pos x="32" y="39"/>
                  </a:cxn>
                  <a:cxn ang="0">
                    <a:pos x="22" y="51"/>
                  </a:cxn>
                  <a:cxn ang="0">
                    <a:pos x="14" y="57"/>
                  </a:cxn>
                  <a:cxn ang="0">
                    <a:pos x="0" y="70"/>
                  </a:cxn>
                  <a:cxn ang="0">
                    <a:pos x="0" y="77"/>
                  </a:cxn>
                  <a:cxn ang="0">
                    <a:pos x="2" y="77"/>
                  </a:cxn>
                  <a:cxn ang="0">
                    <a:pos x="4" y="79"/>
                  </a:cxn>
                  <a:cxn ang="0">
                    <a:pos x="5" y="79"/>
                  </a:cxn>
                  <a:cxn ang="0">
                    <a:pos x="7" y="80"/>
                  </a:cxn>
                  <a:cxn ang="0">
                    <a:pos x="9" y="79"/>
                  </a:cxn>
                  <a:cxn ang="0">
                    <a:pos x="10" y="79"/>
                  </a:cxn>
                  <a:cxn ang="0">
                    <a:pos x="10" y="77"/>
                  </a:cxn>
                  <a:cxn ang="0">
                    <a:pos x="22" y="65"/>
                  </a:cxn>
                  <a:cxn ang="0">
                    <a:pos x="22" y="67"/>
                  </a:cxn>
                  <a:cxn ang="0">
                    <a:pos x="30" y="61"/>
                  </a:cxn>
                  <a:cxn ang="0">
                    <a:pos x="32" y="59"/>
                  </a:cxn>
                  <a:cxn ang="0">
                    <a:pos x="42" y="48"/>
                  </a:cxn>
                  <a:cxn ang="0">
                    <a:pos x="52" y="33"/>
                  </a:cxn>
                  <a:cxn ang="0">
                    <a:pos x="52" y="31"/>
                  </a:cxn>
                  <a:cxn ang="0">
                    <a:pos x="58" y="18"/>
                  </a:cxn>
                  <a:cxn ang="0">
                    <a:pos x="62" y="8"/>
                  </a:cxn>
                </a:cxnLst>
                <a:rect l="0" t="0" r="r" b="b"/>
                <a:pathLst>
                  <a:path w="63" h="80">
                    <a:moveTo>
                      <a:pt x="62" y="8"/>
                    </a:moveTo>
                    <a:lnTo>
                      <a:pt x="63" y="7"/>
                    </a:lnTo>
                    <a:lnTo>
                      <a:pt x="63" y="5"/>
                    </a:lnTo>
                    <a:lnTo>
                      <a:pt x="62" y="3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3"/>
                    </a:lnTo>
                    <a:lnTo>
                      <a:pt x="47" y="13"/>
                    </a:lnTo>
                    <a:lnTo>
                      <a:pt x="40" y="26"/>
                    </a:lnTo>
                    <a:lnTo>
                      <a:pt x="40" y="25"/>
                    </a:lnTo>
                    <a:lnTo>
                      <a:pt x="30" y="39"/>
                    </a:lnTo>
                    <a:lnTo>
                      <a:pt x="32" y="39"/>
                    </a:lnTo>
                    <a:lnTo>
                      <a:pt x="22" y="51"/>
                    </a:lnTo>
                    <a:lnTo>
                      <a:pt x="14" y="57"/>
                    </a:lnTo>
                    <a:lnTo>
                      <a:pt x="0" y="70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4" y="79"/>
                    </a:lnTo>
                    <a:lnTo>
                      <a:pt x="5" y="79"/>
                    </a:lnTo>
                    <a:lnTo>
                      <a:pt x="7" y="80"/>
                    </a:lnTo>
                    <a:lnTo>
                      <a:pt x="9" y="79"/>
                    </a:lnTo>
                    <a:lnTo>
                      <a:pt x="10" y="79"/>
                    </a:lnTo>
                    <a:lnTo>
                      <a:pt x="10" y="77"/>
                    </a:lnTo>
                    <a:lnTo>
                      <a:pt x="22" y="65"/>
                    </a:lnTo>
                    <a:lnTo>
                      <a:pt x="22" y="67"/>
                    </a:lnTo>
                    <a:lnTo>
                      <a:pt x="30" y="61"/>
                    </a:lnTo>
                    <a:lnTo>
                      <a:pt x="32" y="59"/>
                    </a:lnTo>
                    <a:lnTo>
                      <a:pt x="42" y="48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8" y="18"/>
                    </a:lnTo>
                    <a:lnTo>
                      <a:pt x="62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Freeform 206">
                <a:extLst>
                  <a:ext uri="{FF2B5EF4-FFF2-40B4-BE49-F238E27FC236}">
                    <a16:creationId xmlns:a16="http://schemas.microsoft.com/office/drawing/2014/main" id="{E24B9959-394E-44DE-B332-45D4FD5FA0F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38" y="3504"/>
                <a:ext cx="58" cy="44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2" y="22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20" y="29"/>
                  </a:cxn>
                  <a:cxn ang="0">
                    <a:pos x="21" y="29"/>
                  </a:cxn>
                  <a:cxn ang="0">
                    <a:pos x="28" y="24"/>
                  </a:cxn>
                  <a:cxn ang="0">
                    <a:pos x="45" y="11"/>
                  </a:cxn>
                  <a:cxn ang="0">
                    <a:pos x="46" y="9"/>
                  </a:cxn>
                  <a:cxn ang="0">
                    <a:pos x="46" y="8"/>
                  </a:cxn>
                  <a:cxn ang="0">
                    <a:pos x="48" y="6"/>
                  </a:cxn>
                  <a:cxn ang="0">
                    <a:pos x="48" y="5"/>
                  </a:cxn>
                  <a:cxn ang="0">
                    <a:pos x="46" y="3"/>
                  </a:cxn>
                  <a:cxn ang="0">
                    <a:pos x="46" y="1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6" y="1"/>
                  </a:cxn>
                  <a:cxn ang="0">
                    <a:pos x="20" y="14"/>
                  </a:cxn>
                  <a:cxn ang="0">
                    <a:pos x="20" y="13"/>
                  </a:cxn>
                  <a:cxn ang="0">
                    <a:pos x="13" y="18"/>
                  </a:cxn>
                  <a:cxn ang="0">
                    <a:pos x="15" y="18"/>
                  </a:cxn>
                  <a:cxn ang="0">
                    <a:pos x="3" y="22"/>
                  </a:cxn>
                </a:cxnLst>
                <a:rect l="0" t="0" r="r" b="b"/>
                <a:pathLst>
                  <a:path w="48" h="36">
                    <a:moveTo>
                      <a:pt x="3" y="22"/>
                    </a:moveTo>
                    <a:lnTo>
                      <a:pt x="2" y="22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20" y="29"/>
                    </a:lnTo>
                    <a:lnTo>
                      <a:pt x="21" y="29"/>
                    </a:lnTo>
                    <a:lnTo>
                      <a:pt x="28" y="24"/>
                    </a:lnTo>
                    <a:lnTo>
                      <a:pt x="45" y="11"/>
                    </a:lnTo>
                    <a:lnTo>
                      <a:pt x="46" y="9"/>
                    </a:lnTo>
                    <a:lnTo>
                      <a:pt x="46" y="8"/>
                    </a:lnTo>
                    <a:lnTo>
                      <a:pt x="48" y="6"/>
                    </a:lnTo>
                    <a:lnTo>
                      <a:pt x="48" y="5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5" y="0"/>
                    </a:lnTo>
                    <a:lnTo>
                      <a:pt x="38" y="0"/>
                    </a:lnTo>
                    <a:lnTo>
                      <a:pt x="36" y="1"/>
                    </a:lnTo>
                    <a:lnTo>
                      <a:pt x="20" y="14"/>
                    </a:lnTo>
                    <a:lnTo>
                      <a:pt x="20" y="13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3" y="2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207">
                <a:extLst>
                  <a:ext uri="{FF2B5EF4-FFF2-40B4-BE49-F238E27FC236}">
                    <a16:creationId xmlns:a16="http://schemas.microsoft.com/office/drawing/2014/main" id="{D38B3368-679A-455C-AC3E-119F981F1A0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4" y="3472"/>
                <a:ext cx="33" cy="35"/>
              </a:xfrm>
              <a:custGeom>
                <a:avLst/>
                <a:gdLst/>
                <a:ahLst/>
                <a:cxnLst>
                  <a:cxn ang="0">
                    <a:pos x="25" y="10"/>
                  </a:cxn>
                  <a:cxn ang="0">
                    <a:pos x="25" y="8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3"/>
                  </a:cxn>
                  <a:cxn ang="0">
                    <a:pos x="25" y="2"/>
                  </a:cxn>
                  <a:cxn ang="0">
                    <a:pos x="23" y="2"/>
                  </a:cxn>
                  <a:cxn ang="0">
                    <a:pos x="22" y="0"/>
                  </a:cxn>
                  <a:cxn ang="0">
                    <a:pos x="15" y="0"/>
                  </a:cxn>
                  <a:cxn ang="0">
                    <a:pos x="15" y="2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3" y="28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8" y="28"/>
                  </a:cxn>
                  <a:cxn ang="0">
                    <a:pos x="10" y="28"/>
                  </a:cxn>
                  <a:cxn ang="0">
                    <a:pos x="12" y="26"/>
                  </a:cxn>
                  <a:cxn ang="0">
                    <a:pos x="25" y="10"/>
                  </a:cxn>
                </a:cxnLst>
                <a:rect l="0" t="0" r="r" b="b"/>
                <a:pathLst>
                  <a:path w="27" h="29">
                    <a:moveTo>
                      <a:pt x="25" y="10"/>
                    </a:moveTo>
                    <a:lnTo>
                      <a:pt x="25" y="8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3" y="2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3" y="28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2" y="26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Freeform 208">
                <a:extLst>
                  <a:ext uri="{FF2B5EF4-FFF2-40B4-BE49-F238E27FC236}">
                    <a16:creationId xmlns:a16="http://schemas.microsoft.com/office/drawing/2014/main" id="{8F7257F2-E6DF-4340-8F68-195632FB6BD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93" y="3307"/>
                <a:ext cx="16" cy="23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2" y="14"/>
                  </a:cxn>
                  <a:cxn ang="0">
                    <a:pos x="13" y="13"/>
                  </a:cxn>
                  <a:cxn ang="0">
                    <a:pos x="13" y="6"/>
                  </a:cxn>
                </a:cxnLst>
                <a:rect l="0" t="0" r="r" b="b"/>
                <a:pathLst>
                  <a:path w="13" h="19">
                    <a:moveTo>
                      <a:pt x="13" y="6"/>
                    </a:moveTo>
                    <a:lnTo>
                      <a:pt x="12" y="4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Freeform 209">
                <a:extLst>
                  <a:ext uri="{FF2B5EF4-FFF2-40B4-BE49-F238E27FC236}">
                    <a16:creationId xmlns:a16="http://schemas.microsoft.com/office/drawing/2014/main" id="{270372BC-B372-4C2E-ADAB-D0E94949CCB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63" y="2991"/>
                <a:ext cx="85" cy="24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5"/>
                  </a:cxn>
                  <a:cxn ang="0">
                    <a:pos x="2" y="17"/>
                  </a:cxn>
                  <a:cxn ang="0">
                    <a:pos x="2" y="18"/>
                  </a:cxn>
                  <a:cxn ang="0">
                    <a:pos x="3" y="18"/>
                  </a:cxn>
                  <a:cxn ang="0">
                    <a:pos x="5" y="20"/>
                  </a:cxn>
                  <a:cxn ang="0">
                    <a:pos x="7" y="20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2" y="17"/>
                  </a:cxn>
                  <a:cxn ang="0">
                    <a:pos x="15" y="12"/>
                  </a:cxn>
                  <a:cxn ang="0">
                    <a:pos x="12" y="13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58" y="13"/>
                  </a:cxn>
                  <a:cxn ang="0">
                    <a:pos x="55" y="12"/>
                  </a:cxn>
                  <a:cxn ang="0">
                    <a:pos x="60" y="13"/>
                  </a:cxn>
                  <a:cxn ang="0">
                    <a:pos x="57" y="8"/>
                  </a:cxn>
                  <a:cxn ang="0">
                    <a:pos x="57" y="13"/>
                  </a:cxn>
                  <a:cxn ang="0">
                    <a:pos x="58" y="13"/>
                  </a:cxn>
                  <a:cxn ang="0">
                    <a:pos x="60" y="15"/>
                  </a:cxn>
                  <a:cxn ang="0">
                    <a:pos x="62" y="15"/>
                  </a:cxn>
                  <a:cxn ang="0">
                    <a:pos x="63" y="17"/>
                  </a:cxn>
                  <a:cxn ang="0">
                    <a:pos x="65" y="15"/>
                  </a:cxn>
                  <a:cxn ang="0">
                    <a:pos x="67" y="15"/>
                  </a:cxn>
                  <a:cxn ang="0">
                    <a:pos x="67" y="13"/>
                  </a:cxn>
                  <a:cxn ang="0">
                    <a:pos x="68" y="13"/>
                  </a:cxn>
                  <a:cxn ang="0">
                    <a:pos x="68" y="12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0" y="7"/>
                  </a:cxn>
                  <a:cxn ang="0">
                    <a:pos x="68" y="5"/>
                  </a:cxn>
                  <a:cxn ang="0">
                    <a:pos x="68" y="4"/>
                  </a:cxn>
                  <a:cxn ang="0">
                    <a:pos x="67" y="2"/>
                  </a:cxn>
                  <a:cxn ang="0">
                    <a:pos x="65" y="2"/>
                  </a:cxn>
                  <a:cxn ang="0">
                    <a:pos x="60" y="0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0" y="8"/>
                  </a:cxn>
                </a:cxnLst>
                <a:rect l="0" t="0" r="r" b="b"/>
                <a:pathLst>
                  <a:path w="70" h="20">
                    <a:moveTo>
                      <a:pt x="0" y="8"/>
                    </a:moveTo>
                    <a:lnTo>
                      <a:pt x="0" y="15"/>
                    </a:lnTo>
                    <a:lnTo>
                      <a:pt x="2" y="17"/>
                    </a:lnTo>
                    <a:lnTo>
                      <a:pt x="2" y="18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7" y="20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2" y="17"/>
                    </a:lnTo>
                    <a:lnTo>
                      <a:pt x="15" y="12"/>
                    </a:lnTo>
                    <a:lnTo>
                      <a:pt x="12" y="13"/>
                    </a:lnTo>
                    <a:lnTo>
                      <a:pt x="15" y="12"/>
                    </a:lnTo>
                    <a:lnTo>
                      <a:pt x="13" y="13"/>
                    </a:lnTo>
                    <a:lnTo>
                      <a:pt x="58" y="13"/>
                    </a:lnTo>
                    <a:lnTo>
                      <a:pt x="55" y="12"/>
                    </a:lnTo>
                    <a:lnTo>
                      <a:pt x="60" y="13"/>
                    </a:lnTo>
                    <a:lnTo>
                      <a:pt x="57" y="8"/>
                    </a:lnTo>
                    <a:lnTo>
                      <a:pt x="57" y="13"/>
                    </a:lnTo>
                    <a:lnTo>
                      <a:pt x="58" y="13"/>
                    </a:lnTo>
                    <a:lnTo>
                      <a:pt x="60" y="15"/>
                    </a:lnTo>
                    <a:lnTo>
                      <a:pt x="62" y="15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0" y="7"/>
                    </a:lnTo>
                    <a:lnTo>
                      <a:pt x="68" y="5"/>
                    </a:lnTo>
                    <a:lnTo>
                      <a:pt x="68" y="4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0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Freeform 210">
                <a:extLst>
                  <a:ext uri="{FF2B5EF4-FFF2-40B4-BE49-F238E27FC236}">
                    <a16:creationId xmlns:a16="http://schemas.microsoft.com/office/drawing/2014/main" id="{B6C6415A-632B-421D-920F-31B94743CBB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1" y="3004"/>
                <a:ext cx="86" cy="28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5"/>
                  </a:cxn>
                  <a:cxn ang="0">
                    <a:pos x="11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15"/>
                  </a:cxn>
                  <a:cxn ang="0">
                    <a:pos x="1" y="15"/>
                  </a:cxn>
                  <a:cxn ang="0">
                    <a:pos x="6" y="20"/>
                  </a:cxn>
                  <a:cxn ang="0">
                    <a:pos x="11" y="22"/>
                  </a:cxn>
                  <a:cxn ang="0">
                    <a:pos x="13" y="23"/>
                  </a:cxn>
                  <a:cxn ang="0">
                    <a:pos x="58" y="23"/>
                  </a:cxn>
                  <a:cxn ang="0">
                    <a:pos x="65" y="22"/>
                  </a:cxn>
                  <a:cxn ang="0">
                    <a:pos x="68" y="18"/>
                  </a:cxn>
                  <a:cxn ang="0">
                    <a:pos x="68" y="17"/>
                  </a:cxn>
                  <a:cxn ang="0">
                    <a:pos x="70" y="12"/>
                  </a:cxn>
                  <a:cxn ang="0">
                    <a:pos x="71" y="10"/>
                  </a:cxn>
                  <a:cxn ang="0">
                    <a:pos x="71" y="7"/>
                  </a:cxn>
                  <a:cxn ang="0">
                    <a:pos x="70" y="5"/>
                  </a:cxn>
                  <a:cxn ang="0">
                    <a:pos x="70" y="4"/>
                  </a:cxn>
                  <a:cxn ang="0">
                    <a:pos x="68" y="2"/>
                  </a:cxn>
                  <a:cxn ang="0">
                    <a:pos x="68" y="0"/>
                  </a:cxn>
                  <a:cxn ang="0">
                    <a:pos x="61" y="0"/>
                  </a:cxn>
                  <a:cxn ang="0">
                    <a:pos x="58" y="4"/>
                  </a:cxn>
                  <a:cxn ang="0">
                    <a:pos x="58" y="7"/>
                  </a:cxn>
                  <a:cxn ang="0">
                    <a:pos x="58" y="10"/>
                  </a:cxn>
                  <a:cxn ang="0">
                    <a:pos x="58" y="7"/>
                  </a:cxn>
                  <a:cxn ang="0">
                    <a:pos x="56" y="12"/>
                  </a:cxn>
                  <a:cxn ang="0">
                    <a:pos x="61" y="8"/>
                  </a:cxn>
                  <a:cxn ang="0">
                    <a:pos x="55" y="10"/>
                  </a:cxn>
                  <a:cxn ang="0">
                    <a:pos x="56" y="10"/>
                  </a:cxn>
                  <a:cxn ang="0">
                    <a:pos x="15" y="10"/>
                  </a:cxn>
                  <a:cxn ang="0">
                    <a:pos x="16" y="10"/>
                  </a:cxn>
                  <a:cxn ang="0">
                    <a:pos x="11" y="8"/>
                  </a:cxn>
                  <a:cxn ang="0">
                    <a:pos x="13" y="10"/>
                  </a:cxn>
                  <a:cxn ang="0">
                    <a:pos x="10" y="7"/>
                  </a:cxn>
                  <a:cxn ang="0">
                    <a:pos x="13" y="12"/>
                  </a:cxn>
                  <a:cxn ang="0">
                    <a:pos x="13" y="7"/>
                  </a:cxn>
                </a:cxnLst>
                <a:rect l="0" t="0" r="r" b="b"/>
                <a:pathLst>
                  <a:path w="71" h="23">
                    <a:moveTo>
                      <a:pt x="13" y="7"/>
                    </a:moveTo>
                    <a:lnTo>
                      <a:pt x="11" y="5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15"/>
                    </a:lnTo>
                    <a:lnTo>
                      <a:pt x="1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3" y="23"/>
                    </a:lnTo>
                    <a:lnTo>
                      <a:pt x="58" y="23"/>
                    </a:lnTo>
                    <a:lnTo>
                      <a:pt x="65" y="22"/>
                    </a:lnTo>
                    <a:lnTo>
                      <a:pt x="68" y="18"/>
                    </a:lnTo>
                    <a:lnTo>
                      <a:pt x="68" y="17"/>
                    </a:lnTo>
                    <a:lnTo>
                      <a:pt x="70" y="12"/>
                    </a:lnTo>
                    <a:lnTo>
                      <a:pt x="71" y="10"/>
                    </a:lnTo>
                    <a:lnTo>
                      <a:pt x="71" y="7"/>
                    </a:lnTo>
                    <a:lnTo>
                      <a:pt x="70" y="5"/>
                    </a:lnTo>
                    <a:lnTo>
                      <a:pt x="70" y="4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8" y="7"/>
                    </a:lnTo>
                    <a:lnTo>
                      <a:pt x="58" y="10"/>
                    </a:lnTo>
                    <a:lnTo>
                      <a:pt x="58" y="7"/>
                    </a:lnTo>
                    <a:lnTo>
                      <a:pt x="56" y="12"/>
                    </a:lnTo>
                    <a:lnTo>
                      <a:pt x="61" y="8"/>
                    </a:lnTo>
                    <a:lnTo>
                      <a:pt x="55" y="10"/>
                    </a:lnTo>
                    <a:lnTo>
                      <a:pt x="56" y="10"/>
                    </a:lnTo>
                    <a:lnTo>
                      <a:pt x="15" y="10"/>
                    </a:lnTo>
                    <a:lnTo>
                      <a:pt x="16" y="10"/>
                    </a:lnTo>
                    <a:lnTo>
                      <a:pt x="11" y="8"/>
                    </a:lnTo>
                    <a:lnTo>
                      <a:pt x="13" y="10"/>
                    </a:lnTo>
                    <a:lnTo>
                      <a:pt x="10" y="7"/>
                    </a:lnTo>
                    <a:lnTo>
                      <a:pt x="13" y="12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Freeform 211">
                <a:extLst>
                  <a:ext uri="{FF2B5EF4-FFF2-40B4-BE49-F238E27FC236}">
                    <a16:creationId xmlns:a16="http://schemas.microsoft.com/office/drawing/2014/main" id="{6AA7441D-FF62-48F8-B286-22E124628F8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11" y="2478"/>
                <a:ext cx="1191" cy="175"/>
              </a:xfrm>
              <a:custGeom>
                <a:avLst/>
                <a:gdLst/>
                <a:ahLst/>
                <a:cxnLst>
                  <a:cxn ang="0">
                    <a:pos x="3" y="35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3" y="47"/>
                  </a:cxn>
                  <a:cxn ang="0">
                    <a:pos x="66" y="70"/>
                  </a:cxn>
                  <a:cxn ang="0">
                    <a:pos x="136" y="89"/>
                  </a:cxn>
                  <a:cxn ang="0">
                    <a:pos x="261" y="115"/>
                  </a:cxn>
                  <a:cxn ang="0">
                    <a:pos x="378" y="132"/>
                  </a:cxn>
                  <a:cxn ang="0">
                    <a:pos x="545" y="138"/>
                  </a:cxn>
                  <a:cxn ang="0">
                    <a:pos x="676" y="143"/>
                  </a:cxn>
                  <a:cxn ang="0">
                    <a:pos x="867" y="138"/>
                  </a:cxn>
                  <a:cxn ang="0">
                    <a:pos x="920" y="130"/>
                  </a:cxn>
                  <a:cxn ang="0">
                    <a:pos x="950" y="122"/>
                  </a:cxn>
                  <a:cxn ang="0">
                    <a:pos x="970" y="107"/>
                  </a:cxn>
                  <a:cxn ang="0">
                    <a:pos x="978" y="89"/>
                  </a:cxn>
                  <a:cxn ang="0">
                    <a:pos x="980" y="58"/>
                  </a:cxn>
                  <a:cxn ang="0">
                    <a:pos x="976" y="27"/>
                  </a:cxn>
                  <a:cxn ang="0">
                    <a:pos x="971" y="14"/>
                  </a:cxn>
                  <a:cxn ang="0">
                    <a:pos x="963" y="4"/>
                  </a:cxn>
                  <a:cxn ang="0">
                    <a:pos x="948" y="0"/>
                  </a:cxn>
                  <a:cxn ang="0">
                    <a:pos x="945" y="9"/>
                  </a:cxn>
                  <a:cxn ang="0">
                    <a:pos x="948" y="11"/>
                  </a:cxn>
                  <a:cxn ang="0">
                    <a:pos x="955" y="14"/>
                  </a:cxn>
                  <a:cxn ang="0">
                    <a:pos x="960" y="21"/>
                  </a:cxn>
                  <a:cxn ang="0">
                    <a:pos x="965" y="31"/>
                  </a:cxn>
                  <a:cxn ang="0">
                    <a:pos x="966" y="88"/>
                  </a:cxn>
                  <a:cxn ang="0">
                    <a:pos x="958" y="101"/>
                  </a:cxn>
                  <a:cxn ang="0">
                    <a:pos x="941" y="110"/>
                  </a:cxn>
                  <a:cxn ang="0">
                    <a:pos x="915" y="119"/>
                  </a:cxn>
                  <a:cxn ang="0">
                    <a:pos x="865" y="125"/>
                  </a:cxn>
                  <a:cxn ang="0">
                    <a:pos x="784" y="128"/>
                  </a:cxn>
                  <a:cxn ang="0">
                    <a:pos x="546" y="125"/>
                  </a:cxn>
                  <a:cxn ang="0">
                    <a:pos x="380" y="119"/>
                  </a:cxn>
                  <a:cxn ang="0">
                    <a:pos x="262" y="102"/>
                  </a:cxn>
                  <a:cxn ang="0">
                    <a:pos x="207" y="93"/>
                  </a:cxn>
                  <a:cxn ang="0">
                    <a:pos x="70" y="58"/>
                  </a:cxn>
                </a:cxnLst>
                <a:rect l="0" t="0" r="r" b="b"/>
                <a:pathLst>
                  <a:path w="980" h="143">
                    <a:moveTo>
                      <a:pt x="8" y="35"/>
                    </a:moveTo>
                    <a:lnTo>
                      <a:pt x="3" y="35"/>
                    </a:lnTo>
                    <a:lnTo>
                      <a:pt x="2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2" y="45"/>
                    </a:lnTo>
                    <a:lnTo>
                      <a:pt x="2" y="47"/>
                    </a:lnTo>
                    <a:lnTo>
                      <a:pt x="3" y="47"/>
                    </a:lnTo>
                    <a:lnTo>
                      <a:pt x="65" y="70"/>
                    </a:lnTo>
                    <a:lnTo>
                      <a:pt x="66" y="70"/>
                    </a:lnTo>
                    <a:lnTo>
                      <a:pt x="136" y="88"/>
                    </a:lnTo>
                    <a:lnTo>
                      <a:pt x="136" y="89"/>
                    </a:lnTo>
                    <a:lnTo>
                      <a:pt x="204" y="106"/>
                    </a:lnTo>
                    <a:lnTo>
                      <a:pt x="261" y="115"/>
                    </a:lnTo>
                    <a:lnTo>
                      <a:pt x="319" y="125"/>
                    </a:lnTo>
                    <a:lnTo>
                      <a:pt x="378" y="132"/>
                    </a:lnTo>
                    <a:lnTo>
                      <a:pt x="447" y="135"/>
                    </a:lnTo>
                    <a:lnTo>
                      <a:pt x="545" y="138"/>
                    </a:lnTo>
                    <a:lnTo>
                      <a:pt x="674" y="143"/>
                    </a:lnTo>
                    <a:lnTo>
                      <a:pt x="676" y="143"/>
                    </a:lnTo>
                    <a:lnTo>
                      <a:pt x="784" y="141"/>
                    </a:lnTo>
                    <a:lnTo>
                      <a:pt x="867" y="138"/>
                    </a:lnTo>
                    <a:lnTo>
                      <a:pt x="918" y="132"/>
                    </a:lnTo>
                    <a:lnTo>
                      <a:pt x="920" y="130"/>
                    </a:lnTo>
                    <a:lnTo>
                      <a:pt x="948" y="122"/>
                    </a:lnTo>
                    <a:lnTo>
                      <a:pt x="950" y="122"/>
                    </a:lnTo>
                    <a:lnTo>
                      <a:pt x="968" y="109"/>
                    </a:lnTo>
                    <a:lnTo>
                      <a:pt x="970" y="107"/>
                    </a:lnTo>
                    <a:lnTo>
                      <a:pt x="970" y="106"/>
                    </a:lnTo>
                    <a:lnTo>
                      <a:pt x="978" y="89"/>
                    </a:lnTo>
                    <a:lnTo>
                      <a:pt x="980" y="88"/>
                    </a:lnTo>
                    <a:lnTo>
                      <a:pt x="980" y="58"/>
                    </a:lnTo>
                    <a:lnTo>
                      <a:pt x="978" y="29"/>
                    </a:lnTo>
                    <a:lnTo>
                      <a:pt x="976" y="27"/>
                    </a:lnTo>
                    <a:lnTo>
                      <a:pt x="971" y="16"/>
                    </a:lnTo>
                    <a:lnTo>
                      <a:pt x="971" y="14"/>
                    </a:lnTo>
                    <a:lnTo>
                      <a:pt x="965" y="6"/>
                    </a:lnTo>
                    <a:lnTo>
                      <a:pt x="963" y="4"/>
                    </a:lnTo>
                    <a:lnTo>
                      <a:pt x="955" y="0"/>
                    </a:lnTo>
                    <a:lnTo>
                      <a:pt x="948" y="0"/>
                    </a:lnTo>
                    <a:lnTo>
                      <a:pt x="945" y="3"/>
                    </a:lnTo>
                    <a:lnTo>
                      <a:pt x="945" y="9"/>
                    </a:lnTo>
                    <a:lnTo>
                      <a:pt x="946" y="9"/>
                    </a:lnTo>
                    <a:lnTo>
                      <a:pt x="948" y="11"/>
                    </a:lnTo>
                    <a:lnTo>
                      <a:pt x="956" y="16"/>
                    </a:lnTo>
                    <a:lnTo>
                      <a:pt x="955" y="14"/>
                    </a:lnTo>
                    <a:lnTo>
                      <a:pt x="961" y="22"/>
                    </a:lnTo>
                    <a:lnTo>
                      <a:pt x="960" y="21"/>
                    </a:lnTo>
                    <a:lnTo>
                      <a:pt x="965" y="32"/>
                    </a:lnTo>
                    <a:lnTo>
                      <a:pt x="965" y="31"/>
                    </a:lnTo>
                    <a:lnTo>
                      <a:pt x="966" y="60"/>
                    </a:lnTo>
                    <a:lnTo>
                      <a:pt x="966" y="88"/>
                    </a:lnTo>
                    <a:lnTo>
                      <a:pt x="966" y="84"/>
                    </a:lnTo>
                    <a:lnTo>
                      <a:pt x="958" y="101"/>
                    </a:lnTo>
                    <a:lnTo>
                      <a:pt x="960" y="97"/>
                    </a:lnTo>
                    <a:lnTo>
                      <a:pt x="941" y="110"/>
                    </a:lnTo>
                    <a:lnTo>
                      <a:pt x="943" y="110"/>
                    </a:lnTo>
                    <a:lnTo>
                      <a:pt x="915" y="119"/>
                    </a:lnTo>
                    <a:lnTo>
                      <a:pt x="916" y="119"/>
                    </a:lnTo>
                    <a:lnTo>
                      <a:pt x="865" y="125"/>
                    </a:lnTo>
                    <a:lnTo>
                      <a:pt x="782" y="128"/>
                    </a:lnTo>
                    <a:lnTo>
                      <a:pt x="784" y="128"/>
                    </a:lnTo>
                    <a:lnTo>
                      <a:pt x="676" y="130"/>
                    </a:lnTo>
                    <a:lnTo>
                      <a:pt x="546" y="125"/>
                    </a:lnTo>
                    <a:lnTo>
                      <a:pt x="448" y="122"/>
                    </a:lnTo>
                    <a:lnTo>
                      <a:pt x="380" y="119"/>
                    </a:lnTo>
                    <a:lnTo>
                      <a:pt x="320" y="112"/>
                    </a:lnTo>
                    <a:lnTo>
                      <a:pt x="262" y="102"/>
                    </a:lnTo>
                    <a:lnTo>
                      <a:pt x="206" y="93"/>
                    </a:lnTo>
                    <a:lnTo>
                      <a:pt x="207" y="93"/>
                    </a:lnTo>
                    <a:lnTo>
                      <a:pt x="139" y="76"/>
                    </a:lnTo>
                    <a:lnTo>
                      <a:pt x="70" y="58"/>
                    </a:lnTo>
                    <a:lnTo>
                      <a:pt x="8" y="3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Freeform 212">
                <a:extLst>
                  <a:ext uri="{FF2B5EF4-FFF2-40B4-BE49-F238E27FC236}">
                    <a16:creationId xmlns:a16="http://schemas.microsoft.com/office/drawing/2014/main" id="{53CB80AC-874A-43F8-8B58-6172C319E00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503"/>
                <a:ext cx="80" cy="187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13" y="44"/>
                  </a:cxn>
                  <a:cxn ang="0">
                    <a:pos x="13" y="42"/>
                  </a:cxn>
                  <a:cxn ang="0">
                    <a:pos x="13" y="57"/>
                  </a:cxn>
                  <a:cxn ang="0">
                    <a:pos x="27" y="78"/>
                  </a:cxn>
                  <a:cxn ang="0">
                    <a:pos x="27" y="77"/>
                  </a:cxn>
                  <a:cxn ang="0">
                    <a:pos x="40" y="108"/>
                  </a:cxn>
                  <a:cxn ang="0">
                    <a:pos x="48" y="125"/>
                  </a:cxn>
                  <a:cxn ang="0">
                    <a:pos x="53" y="143"/>
                  </a:cxn>
                  <a:cxn ang="0">
                    <a:pos x="53" y="142"/>
                  </a:cxn>
                  <a:cxn ang="0">
                    <a:pos x="53" y="150"/>
                  </a:cxn>
                  <a:cxn ang="0">
                    <a:pos x="55" y="150"/>
                  </a:cxn>
                  <a:cxn ang="0">
                    <a:pos x="57" y="152"/>
                  </a:cxn>
                  <a:cxn ang="0">
                    <a:pos x="58" y="152"/>
                  </a:cxn>
                  <a:cxn ang="0">
                    <a:pos x="60" y="153"/>
                  </a:cxn>
                  <a:cxn ang="0">
                    <a:pos x="62" y="152"/>
                  </a:cxn>
                  <a:cxn ang="0">
                    <a:pos x="63" y="152"/>
                  </a:cxn>
                  <a:cxn ang="0">
                    <a:pos x="63" y="150"/>
                  </a:cxn>
                  <a:cxn ang="0">
                    <a:pos x="65" y="150"/>
                  </a:cxn>
                  <a:cxn ang="0">
                    <a:pos x="65" y="148"/>
                  </a:cxn>
                  <a:cxn ang="0">
                    <a:pos x="66" y="147"/>
                  </a:cxn>
                  <a:cxn ang="0">
                    <a:pos x="66" y="142"/>
                  </a:cxn>
                  <a:cxn ang="0">
                    <a:pos x="65" y="140"/>
                  </a:cxn>
                  <a:cxn ang="0">
                    <a:pos x="60" y="122"/>
                  </a:cxn>
                  <a:cxn ang="0">
                    <a:pos x="60" y="121"/>
                  </a:cxn>
                  <a:cxn ang="0">
                    <a:pos x="52" y="103"/>
                  </a:cxn>
                  <a:cxn ang="0">
                    <a:pos x="38" y="72"/>
                  </a:cxn>
                  <a:cxn ang="0">
                    <a:pos x="25" y="50"/>
                  </a:cxn>
                  <a:cxn ang="0">
                    <a:pos x="27" y="54"/>
                  </a:cxn>
                  <a:cxn ang="0">
                    <a:pos x="27" y="41"/>
                  </a:cxn>
                  <a:cxn ang="0">
                    <a:pos x="25" y="39"/>
                  </a:cxn>
                  <a:cxn ang="0">
                    <a:pos x="12" y="3"/>
                  </a:cxn>
                </a:cxnLst>
                <a:rect l="0" t="0" r="r" b="b"/>
                <a:pathLst>
                  <a:path w="66" h="153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3" y="57"/>
                    </a:lnTo>
                    <a:lnTo>
                      <a:pt x="27" y="78"/>
                    </a:lnTo>
                    <a:lnTo>
                      <a:pt x="27" y="77"/>
                    </a:lnTo>
                    <a:lnTo>
                      <a:pt x="40" y="108"/>
                    </a:lnTo>
                    <a:lnTo>
                      <a:pt x="48" y="125"/>
                    </a:lnTo>
                    <a:lnTo>
                      <a:pt x="53" y="143"/>
                    </a:lnTo>
                    <a:lnTo>
                      <a:pt x="53" y="142"/>
                    </a:lnTo>
                    <a:lnTo>
                      <a:pt x="53" y="150"/>
                    </a:lnTo>
                    <a:lnTo>
                      <a:pt x="55" y="150"/>
                    </a:lnTo>
                    <a:lnTo>
                      <a:pt x="57" y="152"/>
                    </a:lnTo>
                    <a:lnTo>
                      <a:pt x="58" y="152"/>
                    </a:lnTo>
                    <a:lnTo>
                      <a:pt x="60" y="153"/>
                    </a:lnTo>
                    <a:lnTo>
                      <a:pt x="62" y="152"/>
                    </a:lnTo>
                    <a:lnTo>
                      <a:pt x="63" y="152"/>
                    </a:lnTo>
                    <a:lnTo>
                      <a:pt x="63" y="150"/>
                    </a:lnTo>
                    <a:lnTo>
                      <a:pt x="65" y="150"/>
                    </a:lnTo>
                    <a:lnTo>
                      <a:pt x="65" y="148"/>
                    </a:lnTo>
                    <a:lnTo>
                      <a:pt x="66" y="147"/>
                    </a:lnTo>
                    <a:lnTo>
                      <a:pt x="66" y="142"/>
                    </a:lnTo>
                    <a:lnTo>
                      <a:pt x="65" y="140"/>
                    </a:lnTo>
                    <a:lnTo>
                      <a:pt x="60" y="122"/>
                    </a:lnTo>
                    <a:lnTo>
                      <a:pt x="60" y="121"/>
                    </a:lnTo>
                    <a:lnTo>
                      <a:pt x="52" y="103"/>
                    </a:lnTo>
                    <a:lnTo>
                      <a:pt x="38" y="72"/>
                    </a:lnTo>
                    <a:lnTo>
                      <a:pt x="25" y="50"/>
                    </a:lnTo>
                    <a:lnTo>
                      <a:pt x="27" y="54"/>
                    </a:lnTo>
                    <a:lnTo>
                      <a:pt x="27" y="41"/>
                    </a:lnTo>
                    <a:lnTo>
                      <a:pt x="25" y="39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Freeform 213">
                <a:extLst>
                  <a:ext uri="{FF2B5EF4-FFF2-40B4-BE49-F238E27FC236}">
                    <a16:creationId xmlns:a16="http://schemas.microsoft.com/office/drawing/2014/main" id="{B51C675F-35FC-465A-A614-EF127F5837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3" y="2575"/>
                <a:ext cx="104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57" y="13"/>
                  </a:cxn>
                  <a:cxn ang="0">
                    <a:pos x="55" y="13"/>
                  </a:cxn>
                  <a:cxn ang="0">
                    <a:pos x="77" y="14"/>
                  </a:cxn>
                  <a:cxn ang="0">
                    <a:pos x="78" y="14"/>
                  </a:cxn>
                  <a:cxn ang="0">
                    <a:pos x="80" y="13"/>
                  </a:cxn>
                  <a:cxn ang="0">
                    <a:pos x="82" y="13"/>
                  </a:cxn>
                  <a:cxn ang="0">
                    <a:pos x="83" y="11"/>
                  </a:cxn>
                  <a:cxn ang="0">
                    <a:pos x="83" y="10"/>
                  </a:cxn>
                  <a:cxn ang="0">
                    <a:pos x="85" y="8"/>
                  </a:cxn>
                  <a:cxn ang="0">
                    <a:pos x="85" y="6"/>
                  </a:cxn>
                  <a:cxn ang="0">
                    <a:pos x="83" y="5"/>
                  </a:cxn>
                  <a:cxn ang="0">
                    <a:pos x="83" y="3"/>
                  </a:cxn>
                  <a:cxn ang="0">
                    <a:pos x="82" y="1"/>
                  </a:cxn>
                  <a:cxn ang="0">
                    <a:pos x="78" y="1"/>
                  </a:cxn>
                  <a:cxn ang="0">
                    <a:pos x="57" y="0"/>
                  </a:cxn>
                  <a:cxn ang="0">
                    <a:pos x="7" y="0"/>
                  </a:cxn>
                </a:cxnLst>
                <a:rect l="0" t="0" r="r" b="b"/>
                <a:pathLst>
                  <a:path w="85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7" y="13"/>
                    </a:lnTo>
                    <a:lnTo>
                      <a:pt x="55" y="13"/>
                    </a:lnTo>
                    <a:lnTo>
                      <a:pt x="77" y="14"/>
                    </a:lnTo>
                    <a:lnTo>
                      <a:pt x="78" y="14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3" y="11"/>
                    </a:lnTo>
                    <a:lnTo>
                      <a:pt x="83" y="10"/>
                    </a:lnTo>
                    <a:lnTo>
                      <a:pt x="85" y="8"/>
                    </a:lnTo>
                    <a:lnTo>
                      <a:pt x="85" y="6"/>
                    </a:lnTo>
                    <a:lnTo>
                      <a:pt x="83" y="5"/>
                    </a:lnTo>
                    <a:lnTo>
                      <a:pt x="83" y="3"/>
                    </a:lnTo>
                    <a:lnTo>
                      <a:pt x="82" y="1"/>
                    </a:lnTo>
                    <a:lnTo>
                      <a:pt x="78" y="1"/>
                    </a:lnTo>
                    <a:lnTo>
                      <a:pt x="57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Freeform 214">
                <a:extLst>
                  <a:ext uri="{FF2B5EF4-FFF2-40B4-BE49-F238E27FC236}">
                    <a16:creationId xmlns:a16="http://schemas.microsoft.com/office/drawing/2014/main" id="{F9E325C8-4E28-4C76-8E2A-4979A548ADF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8" y="2814"/>
                <a:ext cx="507" cy="11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3" y="10"/>
                  </a:cxn>
                  <a:cxn ang="0">
                    <a:pos x="5" y="11"/>
                  </a:cxn>
                  <a:cxn ang="0">
                    <a:pos x="58" y="16"/>
                  </a:cxn>
                  <a:cxn ang="0">
                    <a:pos x="199" y="23"/>
                  </a:cxn>
                  <a:cxn ang="0">
                    <a:pos x="267" y="25"/>
                  </a:cxn>
                  <a:cxn ang="0">
                    <a:pos x="364" y="29"/>
                  </a:cxn>
                  <a:cxn ang="0">
                    <a:pos x="402" y="26"/>
                  </a:cxn>
                  <a:cxn ang="0">
                    <a:pos x="403" y="46"/>
                  </a:cxn>
                  <a:cxn ang="0">
                    <a:pos x="397" y="56"/>
                  </a:cxn>
                  <a:cxn ang="0">
                    <a:pos x="388" y="64"/>
                  </a:cxn>
                  <a:cxn ang="0">
                    <a:pos x="380" y="67"/>
                  </a:cxn>
                  <a:cxn ang="0">
                    <a:pos x="362" y="72"/>
                  </a:cxn>
                  <a:cxn ang="0">
                    <a:pos x="347" y="72"/>
                  </a:cxn>
                  <a:cxn ang="0">
                    <a:pos x="266" y="80"/>
                  </a:cxn>
                  <a:cxn ang="0">
                    <a:pos x="126" y="80"/>
                  </a:cxn>
                  <a:cxn ang="0">
                    <a:pos x="41" y="75"/>
                  </a:cxn>
                  <a:cxn ang="0">
                    <a:pos x="38" y="56"/>
                  </a:cxn>
                  <a:cxn ang="0">
                    <a:pos x="18" y="16"/>
                  </a:cxn>
                  <a:cxn ang="0">
                    <a:pos x="12" y="2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7" y="21"/>
                  </a:cxn>
                  <a:cxn ang="0">
                    <a:pos x="15" y="41"/>
                  </a:cxn>
                  <a:cxn ang="0">
                    <a:pos x="26" y="60"/>
                  </a:cxn>
                  <a:cxn ang="0">
                    <a:pos x="36" y="85"/>
                  </a:cxn>
                  <a:cxn ang="0">
                    <a:pos x="38" y="87"/>
                  </a:cxn>
                  <a:cxn ang="0">
                    <a:pos x="80" y="91"/>
                  </a:cxn>
                  <a:cxn ang="0">
                    <a:pos x="267" y="93"/>
                  </a:cxn>
                  <a:cxn ang="0">
                    <a:pos x="349" y="85"/>
                  </a:cxn>
                  <a:cxn ang="0">
                    <a:pos x="385" y="80"/>
                  </a:cxn>
                  <a:cxn ang="0">
                    <a:pos x="395" y="73"/>
                  </a:cxn>
                  <a:cxn ang="0">
                    <a:pos x="397" y="72"/>
                  </a:cxn>
                  <a:cxn ang="0">
                    <a:pos x="408" y="62"/>
                  </a:cxn>
                  <a:cxn ang="0">
                    <a:pos x="415" y="47"/>
                  </a:cxn>
                  <a:cxn ang="0">
                    <a:pos x="417" y="33"/>
                  </a:cxn>
                  <a:cxn ang="0">
                    <a:pos x="413" y="23"/>
                  </a:cxn>
                  <a:cxn ang="0">
                    <a:pos x="412" y="20"/>
                  </a:cxn>
                  <a:cxn ang="0">
                    <a:pos x="365" y="16"/>
                  </a:cxn>
                  <a:cxn ang="0">
                    <a:pos x="269" y="11"/>
                  </a:cxn>
                  <a:cxn ang="0">
                    <a:pos x="60" y="3"/>
                  </a:cxn>
                </a:cxnLst>
                <a:rect l="0" t="0" r="r" b="b"/>
                <a:pathLst>
                  <a:path w="417" h="93">
                    <a:moveTo>
                      <a:pt x="8" y="0"/>
                    </a:moveTo>
                    <a:lnTo>
                      <a:pt x="5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3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8" y="16"/>
                    </a:lnTo>
                    <a:lnTo>
                      <a:pt x="197" y="23"/>
                    </a:lnTo>
                    <a:lnTo>
                      <a:pt x="199" y="23"/>
                    </a:lnTo>
                    <a:lnTo>
                      <a:pt x="269" y="25"/>
                    </a:lnTo>
                    <a:lnTo>
                      <a:pt x="267" y="25"/>
                    </a:lnTo>
                    <a:lnTo>
                      <a:pt x="325" y="28"/>
                    </a:lnTo>
                    <a:lnTo>
                      <a:pt x="364" y="29"/>
                    </a:lnTo>
                    <a:lnTo>
                      <a:pt x="407" y="33"/>
                    </a:lnTo>
                    <a:lnTo>
                      <a:pt x="402" y="26"/>
                    </a:lnTo>
                    <a:lnTo>
                      <a:pt x="403" y="34"/>
                    </a:lnTo>
                    <a:lnTo>
                      <a:pt x="403" y="46"/>
                    </a:lnTo>
                    <a:lnTo>
                      <a:pt x="403" y="42"/>
                    </a:lnTo>
                    <a:lnTo>
                      <a:pt x="397" y="56"/>
                    </a:lnTo>
                    <a:lnTo>
                      <a:pt x="398" y="54"/>
                    </a:lnTo>
                    <a:lnTo>
                      <a:pt x="388" y="64"/>
                    </a:lnTo>
                    <a:lnTo>
                      <a:pt x="390" y="62"/>
                    </a:lnTo>
                    <a:lnTo>
                      <a:pt x="380" y="67"/>
                    </a:lnTo>
                    <a:lnTo>
                      <a:pt x="382" y="67"/>
                    </a:lnTo>
                    <a:lnTo>
                      <a:pt x="362" y="72"/>
                    </a:lnTo>
                    <a:lnTo>
                      <a:pt x="364" y="72"/>
                    </a:lnTo>
                    <a:lnTo>
                      <a:pt x="347" y="72"/>
                    </a:lnTo>
                    <a:lnTo>
                      <a:pt x="307" y="75"/>
                    </a:lnTo>
                    <a:lnTo>
                      <a:pt x="266" y="80"/>
                    </a:lnTo>
                    <a:lnTo>
                      <a:pt x="267" y="80"/>
                    </a:lnTo>
                    <a:lnTo>
                      <a:pt x="126" y="80"/>
                    </a:lnTo>
                    <a:lnTo>
                      <a:pt x="81" y="78"/>
                    </a:lnTo>
                    <a:lnTo>
                      <a:pt x="41" y="75"/>
                    </a:lnTo>
                    <a:lnTo>
                      <a:pt x="46" y="78"/>
                    </a:lnTo>
                    <a:lnTo>
                      <a:pt x="38" y="56"/>
                    </a:lnTo>
                    <a:lnTo>
                      <a:pt x="26" y="34"/>
                    </a:lnTo>
                    <a:lnTo>
                      <a:pt x="18" y="16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7" y="21"/>
                    </a:lnTo>
                    <a:lnTo>
                      <a:pt x="15" y="39"/>
                    </a:lnTo>
                    <a:lnTo>
                      <a:pt x="15" y="41"/>
                    </a:lnTo>
                    <a:lnTo>
                      <a:pt x="26" y="62"/>
                    </a:lnTo>
                    <a:lnTo>
                      <a:pt x="26" y="60"/>
                    </a:lnTo>
                    <a:lnTo>
                      <a:pt x="35" y="83"/>
                    </a:lnTo>
                    <a:lnTo>
                      <a:pt x="36" y="85"/>
                    </a:lnTo>
                    <a:lnTo>
                      <a:pt x="36" y="87"/>
                    </a:lnTo>
                    <a:lnTo>
                      <a:pt x="38" y="87"/>
                    </a:lnTo>
                    <a:lnTo>
                      <a:pt x="40" y="88"/>
                    </a:lnTo>
                    <a:lnTo>
                      <a:pt x="80" y="91"/>
                    </a:lnTo>
                    <a:lnTo>
                      <a:pt x="124" y="93"/>
                    </a:lnTo>
                    <a:lnTo>
                      <a:pt x="267" y="93"/>
                    </a:lnTo>
                    <a:lnTo>
                      <a:pt x="309" y="88"/>
                    </a:lnTo>
                    <a:lnTo>
                      <a:pt x="349" y="85"/>
                    </a:lnTo>
                    <a:lnTo>
                      <a:pt x="365" y="85"/>
                    </a:lnTo>
                    <a:lnTo>
                      <a:pt x="385" y="80"/>
                    </a:lnTo>
                    <a:lnTo>
                      <a:pt x="385" y="78"/>
                    </a:lnTo>
                    <a:lnTo>
                      <a:pt x="395" y="73"/>
                    </a:lnTo>
                    <a:lnTo>
                      <a:pt x="397" y="73"/>
                    </a:lnTo>
                    <a:lnTo>
                      <a:pt x="397" y="72"/>
                    </a:lnTo>
                    <a:lnTo>
                      <a:pt x="407" y="62"/>
                    </a:lnTo>
                    <a:lnTo>
                      <a:pt x="408" y="62"/>
                    </a:lnTo>
                    <a:lnTo>
                      <a:pt x="408" y="60"/>
                    </a:lnTo>
                    <a:lnTo>
                      <a:pt x="415" y="47"/>
                    </a:lnTo>
                    <a:lnTo>
                      <a:pt x="417" y="46"/>
                    </a:lnTo>
                    <a:lnTo>
                      <a:pt x="417" y="33"/>
                    </a:lnTo>
                    <a:lnTo>
                      <a:pt x="415" y="25"/>
                    </a:lnTo>
                    <a:lnTo>
                      <a:pt x="413" y="23"/>
                    </a:lnTo>
                    <a:lnTo>
                      <a:pt x="413" y="21"/>
                    </a:lnTo>
                    <a:lnTo>
                      <a:pt x="412" y="20"/>
                    </a:lnTo>
                    <a:lnTo>
                      <a:pt x="408" y="20"/>
                    </a:lnTo>
                    <a:lnTo>
                      <a:pt x="365" y="16"/>
                    </a:lnTo>
                    <a:lnTo>
                      <a:pt x="327" y="15"/>
                    </a:lnTo>
                    <a:lnTo>
                      <a:pt x="269" y="11"/>
                    </a:lnTo>
                    <a:lnTo>
                      <a:pt x="199" y="10"/>
                    </a:lnTo>
                    <a:lnTo>
                      <a:pt x="60" y="3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Freeform 215">
                <a:extLst>
                  <a:ext uri="{FF2B5EF4-FFF2-40B4-BE49-F238E27FC236}">
                    <a16:creationId xmlns:a16="http://schemas.microsoft.com/office/drawing/2014/main" id="{7F1F73A6-1625-4504-8A15-C1B1D46CBE9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6" y="2967"/>
                <a:ext cx="45" cy="91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8" y="29"/>
                  </a:cxn>
                  <a:cxn ang="0">
                    <a:pos x="15" y="46"/>
                  </a:cxn>
                  <a:cxn ang="0">
                    <a:pos x="20" y="60"/>
                  </a:cxn>
                  <a:cxn ang="0">
                    <a:pos x="23" y="69"/>
                  </a:cxn>
                  <a:cxn ang="0">
                    <a:pos x="23" y="70"/>
                  </a:cxn>
                  <a:cxn ang="0">
                    <a:pos x="25" y="72"/>
                  </a:cxn>
                  <a:cxn ang="0">
                    <a:pos x="27" y="72"/>
                  </a:cxn>
                  <a:cxn ang="0">
                    <a:pos x="28" y="74"/>
                  </a:cxn>
                  <a:cxn ang="0">
                    <a:pos x="30" y="74"/>
                  </a:cxn>
                  <a:cxn ang="0">
                    <a:pos x="32" y="72"/>
                  </a:cxn>
                  <a:cxn ang="0">
                    <a:pos x="33" y="72"/>
                  </a:cxn>
                  <a:cxn ang="0">
                    <a:pos x="35" y="70"/>
                  </a:cxn>
                  <a:cxn ang="0">
                    <a:pos x="35" y="69"/>
                  </a:cxn>
                  <a:cxn ang="0">
                    <a:pos x="37" y="67"/>
                  </a:cxn>
                  <a:cxn ang="0">
                    <a:pos x="37" y="65"/>
                  </a:cxn>
                  <a:cxn ang="0">
                    <a:pos x="35" y="64"/>
                  </a:cxn>
                  <a:cxn ang="0">
                    <a:pos x="32" y="56"/>
                  </a:cxn>
                  <a:cxn ang="0">
                    <a:pos x="27" y="41"/>
                  </a:cxn>
                  <a:cxn ang="0">
                    <a:pos x="20" y="25"/>
                  </a:cxn>
                  <a:cxn ang="0">
                    <a:pos x="12" y="3"/>
                  </a:cxn>
                </a:cxnLst>
                <a:rect l="0" t="0" r="r" b="b"/>
                <a:pathLst>
                  <a:path w="37" h="74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8" y="29"/>
                    </a:lnTo>
                    <a:lnTo>
                      <a:pt x="15" y="46"/>
                    </a:lnTo>
                    <a:lnTo>
                      <a:pt x="20" y="60"/>
                    </a:lnTo>
                    <a:lnTo>
                      <a:pt x="23" y="69"/>
                    </a:lnTo>
                    <a:lnTo>
                      <a:pt x="23" y="70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28" y="74"/>
                    </a:lnTo>
                    <a:lnTo>
                      <a:pt x="30" y="74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5" y="70"/>
                    </a:lnTo>
                    <a:lnTo>
                      <a:pt x="35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5" y="64"/>
                    </a:lnTo>
                    <a:lnTo>
                      <a:pt x="32" y="56"/>
                    </a:lnTo>
                    <a:lnTo>
                      <a:pt x="27" y="41"/>
                    </a:lnTo>
                    <a:lnTo>
                      <a:pt x="20" y="25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Freeform 216">
                <a:extLst>
                  <a:ext uri="{FF2B5EF4-FFF2-40B4-BE49-F238E27FC236}">
                    <a16:creationId xmlns:a16="http://schemas.microsoft.com/office/drawing/2014/main" id="{FD92023B-8534-4951-887C-5B834D803C2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8" y="2983"/>
                <a:ext cx="44" cy="88"/>
              </a:xfrm>
              <a:custGeom>
                <a:avLst/>
                <a:gdLst/>
                <a:ahLst/>
                <a:cxnLst>
                  <a:cxn ang="0">
                    <a:pos x="11" y="3"/>
                  </a:cxn>
                  <a:cxn ang="0">
                    <a:pos x="11" y="2"/>
                  </a:cxn>
                  <a:cxn ang="0">
                    <a:pos x="10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0" y="31"/>
                  </a:cxn>
                  <a:cxn ang="0">
                    <a:pos x="16" y="51"/>
                  </a:cxn>
                  <a:cxn ang="0">
                    <a:pos x="23" y="67"/>
                  </a:cxn>
                  <a:cxn ang="0">
                    <a:pos x="23" y="69"/>
                  </a:cxn>
                  <a:cxn ang="0">
                    <a:pos x="25" y="70"/>
                  </a:cxn>
                  <a:cxn ang="0">
                    <a:pos x="26" y="70"/>
                  </a:cxn>
                  <a:cxn ang="0">
                    <a:pos x="28" y="72"/>
                  </a:cxn>
                  <a:cxn ang="0">
                    <a:pos x="30" y="72"/>
                  </a:cxn>
                  <a:cxn ang="0">
                    <a:pos x="31" y="70"/>
                  </a:cxn>
                  <a:cxn ang="0">
                    <a:pos x="33" y="70"/>
                  </a:cxn>
                  <a:cxn ang="0">
                    <a:pos x="35" y="69"/>
                  </a:cxn>
                  <a:cxn ang="0">
                    <a:pos x="35" y="67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2"/>
                  </a:cxn>
                  <a:cxn ang="0">
                    <a:pos x="28" y="46"/>
                  </a:cxn>
                  <a:cxn ang="0">
                    <a:pos x="21" y="26"/>
                  </a:cxn>
                  <a:cxn ang="0">
                    <a:pos x="11" y="3"/>
                  </a:cxn>
                </a:cxnLst>
                <a:rect l="0" t="0" r="r" b="b"/>
                <a:pathLst>
                  <a:path w="36" h="72">
                    <a:moveTo>
                      <a:pt x="11" y="3"/>
                    </a:moveTo>
                    <a:lnTo>
                      <a:pt x="11" y="2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0" y="31"/>
                    </a:lnTo>
                    <a:lnTo>
                      <a:pt x="16" y="51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5" y="70"/>
                    </a:lnTo>
                    <a:lnTo>
                      <a:pt x="26" y="70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6" y="65"/>
                    </a:lnTo>
                    <a:lnTo>
                      <a:pt x="36" y="64"/>
                    </a:lnTo>
                    <a:lnTo>
                      <a:pt x="35" y="62"/>
                    </a:lnTo>
                    <a:lnTo>
                      <a:pt x="28" y="46"/>
                    </a:lnTo>
                    <a:lnTo>
                      <a:pt x="21" y="26"/>
                    </a:lnTo>
                    <a:lnTo>
                      <a:pt x="11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Freeform 217">
                <a:extLst>
                  <a:ext uri="{FF2B5EF4-FFF2-40B4-BE49-F238E27FC236}">
                    <a16:creationId xmlns:a16="http://schemas.microsoft.com/office/drawing/2014/main" id="{79886674-98EE-437B-B2F9-EAB6E28214F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9" y="2276"/>
                <a:ext cx="526" cy="1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" y="10"/>
                  </a:cxn>
                  <a:cxn ang="0">
                    <a:pos x="5" y="12"/>
                  </a:cxn>
                  <a:cxn ang="0">
                    <a:pos x="8" y="13"/>
                  </a:cxn>
                  <a:cxn ang="0">
                    <a:pos x="227" y="17"/>
                  </a:cxn>
                  <a:cxn ang="0">
                    <a:pos x="378" y="17"/>
                  </a:cxn>
                  <a:cxn ang="0">
                    <a:pos x="408" y="64"/>
                  </a:cxn>
                  <a:cxn ang="0">
                    <a:pos x="420" y="87"/>
                  </a:cxn>
                  <a:cxn ang="0">
                    <a:pos x="418" y="87"/>
                  </a:cxn>
                  <a:cxn ang="0">
                    <a:pos x="362" y="82"/>
                  </a:cxn>
                  <a:cxn ang="0">
                    <a:pos x="239" y="70"/>
                  </a:cxn>
                  <a:cxn ang="0">
                    <a:pos x="117" y="49"/>
                  </a:cxn>
                  <a:cxn ang="0">
                    <a:pos x="73" y="38"/>
                  </a:cxn>
                  <a:cxn ang="0">
                    <a:pos x="14" y="23"/>
                  </a:cxn>
                  <a:cxn ang="0">
                    <a:pos x="14" y="20"/>
                  </a:cxn>
                  <a:cxn ang="0">
                    <a:pos x="11" y="13"/>
                  </a:cxn>
                  <a:cxn ang="0">
                    <a:pos x="13" y="8"/>
                  </a:cxn>
                  <a:cxn ang="0">
                    <a:pos x="11" y="5"/>
                  </a:cxn>
                  <a:cxn ang="0">
                    <a:pos x="10" y="2"/>
                  </a:cxn>
                  <a:cxn ang="0">
                    <a:pos x="0" y="5"/>
                  </a:cxn>
                  <a:cxn ang="0">
                    <a:pos x="0" y="17"/>
                  </a:cxn>
                  <a:cxn ang="0">
                    <a:pos x="3" y="26"/>
                  </a:cxn>
                  <a:cxn ang="0">
                    <a:pos x="6" y="33"/>
                  </a:cxn>
                  <a:cxn ang="0">
                    <a:pos x="10" y="35"/>
                  </a:cxn>
                  <a:cxn ang="0">
                    <a:pos x="24" y="39"/>
                  </a:cxn>
                  <a:cxn ang="0">
                    <a:pos x="69" y="49"/>
                  </a:cxn>
                  <a:cxn ang="0">
                    <a:pos x="116" y="62"/>
                  </a:cxn>
                  <a:cxn ang="0">
                    <a:pos x="237" y="83"/>
                  </a:cxn>
                  <a:cxn ang="0">
                    <a:pos x="360" y="95"/>
                  </a:cxn>
                  <a:cxn ang="0">
                    <a:pos x="425" y="97"/>
                  </a:cxn>
                  <a:cxn ang="0">
                    <a:pos x="428" y="95"/>
                  </a:cxn>
                  <a:cxn ang="0">
                    <a:pos x="430" y="92"/>
                  </a:cxn>
                  <a:cxn ang="0">
                    <a:pos x="433" y="85"/>
                  </a:cxn>
                  <a:cxn ang="0">
                    <a:pos x="431" y="82"/>
                  </a:cxn>
                  <a:cxn ang="0">
                    <a:pos x="420" y="56"/>
                  </a:cxn>
                  <a:cxn ang="0">
                    <a:pos x="406" y="38"/>
                  </a:cxn>
                  <a:cxn ang="0">
                    <a:pos x="390" y="8"/>
                  </a:cxn>
                  <a:cxn ang="0">
                    <a:pos x="385" y="7"/>
                  </a:cxn>
                  <a:cxn ang="0">
                    <a:pos x="106" y="0"/>
                  </a:cxn>
                </a:cxnLst>
                <a:rect l="0" t="0" r="r" b="b"/>
                <a:pathLst>
                  <a:path w="433" h="97">
                    <a:moveTo>
                      <a:pt x="8" y="0"/>
                    </a:moveTo>
                    <a:lnTo>
                      <a:pt x="5" y="0"/>
                    </a:lnTo>
                    <a:lnTo>
                      <a:pt x="1" y="4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3"/>
                    </a:lnTo>
                    <a:lnTo>
                      <a:pt x="106" y="13"/>
                    </a:lnTo>
                    <a:lnTo>
                      <a:pt x="227" y="17"/>
                    </a:lnTo>
                    <a:lnTo>
                      <a:pt x="385" y="20"/>
                    </a:lnTo>
                    <a:lnTo>
                      <a:pt x="378" y="17"/>
                    </a:lnTo>
                    <a:lnTo>
                      <a:pt x="395" y="44"/>
                    </a:lnTo>
                    <a:lnTo>
                      <a:pt x="408" y="64"/>
                    </a:lnTo>
                    <a:lnTo>
                      <a:pt x="408" y="62"/>
                    </a:lnTo>
                    <a:lnTo>
                      <a:pt x="420" y="87"/>
                    </a:lnTo>
                    <a:lnTo>
                      <a:pt x="420" y="82"/>
                    </a:lnTo>
                    <a:lnTo>
                      <a:pt x="418" y="87"/>
                    </a:lnTo>
                    <a:lnTo>
                      <a:pt x="425" y="83"/>
                    </a:lnTo>
                    <a:lnTo>
                      <a:pt x="362" y="82"/>
                    </a:lnTo>
                    <a:lnTo>
                      <a:pt x="303" y="79"/>
                    </a:lnTo>
                    <a:lnTo>
                      <a:pt x="239" y="70"/>
                    </a:lnTo>
                    <a:lnTo>
                      <a:pt x="177" y="59"/>
                    </a:lnTo>
                    <a:lnTo>
                      <a:pt x="117" y="49"/>
                    </a:lnTo>
                    <a:lnTo>
                      <a:pt x="119" y="49"/>
                    </a:lnTo>
                    <a:lnTo>
                      <a:pt x="73" y="38"/>
                    </a:lnTo>
                    <a:lnTo>
                      <a:pt x="28" y="26"/>
                    </a:lnTo>
                    <a:lnTo>
                      <a:pt x="14" y="23"/>
                    </a:lnTo>
                    <a:lnTo>
                      <a:pt x="18" y="25"/>
                    </a:lnTo>
                    <a:lnTo>
                      <a:pt x="14" y="20"/>
                    </a:lnTo>
                    <a:lnTo>
                      <a:pt x="14" y="21"/>
                    </a:lnTo>
                    <a:lnTo>
                      <a:pt x="11" y="13"/>
                    </a:lnTo>
                    <a:lnTo>
                      <a:pt x="13" y="17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6" y="33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1" y="36"/>
                    </a:lnTo>
                    <a:lnTo>
                      <a:pt x="24" y="39"/>
                    </a:lnTo>
                    <a:lnTo>
                      <a:pt x="24" y="38"/>
                    </a:lnTo>
                    <a:lnTo>
                      <a:pt x="69" y="49"/>
                    </a:lnTo>
                    <a:lnTo>
                      <a:pt x="69" y="51"/>
                    </a:lnTo>
                    <a:lnTo>
                      <a:pt x="116" y="62"/>
                    </a:lnTo>
                    <a:lnTo>
                      <a:pt x="176" y="72"/>
                    </a:lnTo>
                    <a:lnTo>
                      <a:pt x="237" y="83"/>
                    </a:lnTo>
                    <a:lnTo>
                      <a:pt x="302" y="92"/>
                    </a:lnTo>
                    <a:lnTo>
                      <a:pt x="360" y="95"/>
                    </a:lnTo>
                    <a:lnTo>
                      <a:pt x="362" y="95"/>
                    </a:lnTo>
                    <a:lnTo>
                      <a:pt x="425" y="97"/>
                    </a:lnTo>
                    <a:lnTo>
                      <a:pt x="426" y="95"/>
                    </a:lnTo>
                    <a:lnTo>
                      <a:pt x="428" y="95"/>
                    </a:lnTo>
                    <a:lnTo>
                      <a:pt x="430" y="93"/>
                    </a:lnTo>
                    <a:lnTo>
                      <a:pt x="430" y="92"/>
                    </a:lnTo>
                    <a:lnTo>
                      <a:pt x="431" y="87"/>
                    </a:lnTo>
                    <a:lnTo>
                      <a:pt x="433" y="85"/>
                    </a:lnTo>
                    <a:lnTo>
                      <a:pt x="433" y="83"/>
                    </a:lnTo>
                    <a:lnTo>
                      <a:pt x="431" y="82"/>
                    </a:lnTo>
                    <a:lnTo>
                      <a:pt x="420" y="57"/>
                    </a:lnTo>
                    <a:lnTo>
                      <a:pt x="420" y="56"/>
                    </a:lnTo>
                    <a:lnTo>
                      <a:pt x="406" y="36"/>
                    </a:lnTo>
                    <a:lnTo>
                      <a:pt x="406" y="38"/>
                    </a:lnTo>
                    <a:lnTo>
                      <a:pt x="390" y="10"/>
                    </a:lnTo>
                    <a:lnTo>
                      <a:pt x="390" y="8"/>
                    </a:lnTo>
                    <a:lnTo>
                      <a:pt x="388" y="7"/>
                    </a:lnTo>
                    <a:lnTo>
                      <a:pt x="385" y="7"/>
                    </a:lnTo>
                    <a:lnTo>
                      <a:pt x="227" y="4"/>
                    </a:lnTo>
                    <a:lnTo>
                      <a:pt x="10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Freeform 218">
                <a:extLst>
                  <a:ext uri="{FF2B5EF4-FFF2-40B4-BE49-F238E27FC236}">
                    <a16:creationId xmlns:a16="http://schemas.microsoft.com/office/drawing/2014/main" id="{3B56D9DB-DB02-49AA-9D7A-EF864E92D33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50" y="2480"/>
                <a:ext cx="91" cy="25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4" y="15"/>
                  </a:cxn>
                  <a:cxn ang="0">
                    <a:pos x="5" y="15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4" y="21"/>
                  </a:cxn>
                  <a:cxn ang="0">
                    <a:pos x="60" y="21"/>
                  </a:cxn>
                  <a:cxn ang="0">
                    <a:pos x="67" y="20"/>
                  </a:cxn>
                  <a:cxn ang="0">
                    <a:pos x="68" y="18"/>
                  </a:cxn>
                  <a:cxn ang="0">
                    <a:pos x="68" y="16"/>
                  </a:cxn>
                  <a:cxn ang="0">
                    <a:pos x="72" y="13"/>
                  </a:cxn>
                  <a:cxn ang="0">
                    <a:pos x="73" y="13"/>
                  </a:cxn>
                  <a:cxn ang="0">
                    <a:pos x="73" y="12"/>
                  </a:cxn>
                  <a:cxn ang="0">
                    <a:pos x="75" y="10"/>
                  </a:cxn>
                  <a:cxn ang="0">
                    <a:pos x="75" y="7"/>
                  </a:cxn>
                  <a:cxn ang="0">
                    <a:pos x="73" y="5"/>
                  </a:cxn>
                  <a:cxn ang="0">
                    <a:pos x="73" y="3"/>
                  </a:cxn>
                  <a:cxn ang="0">
                    <a:pos x="72" y="2"/>
                  </a:cxn>
                  <a:cxn ang="0">
                    <a:pos x="72" y="0"/>
                  </a:cxn>
                  <a:cxn ang="0">
                    <a:pos x="65" y="0"/>
                  </a:cxn>
                  <a:cxn ang="0">
                    <a:pos x="62" y="3"/>
                  </a:cxn>
                  <a:cxn ang="0">
                    <a:pos x="62" y="7"/>
                  </a:cxn>
                  <a:cxn ang="0">
                    <a:pos x="62" y="10"/>
                  </a:cxn>
                  <a:cxn ang="0">
                    <a:pos x="64" y="5"/>
                  </a:cxn>
                  <a:cxn ang="0">
                    <a:pos x="60" y="8"/>
                  </a:cxn>
                  <a:cxn ang="0">
                    <a:pos x="64" y="7"/>
                  </a:cxn>
                  <a:cxn ang="0">
                    <a:pos x="57" y="8"/>
                  </a:cxn>
                  <a:cxn ang="0">
                    <a:pos x="59" y="8"/>
                  </a:cxn>
                  <a:cxn ang="0">
                    <a:pos x="14" y="8"/>
                  </a:cxn>
                  <a:cxn ang="0">
                    <a:pos x="17" y="10"/>
                  </a:cxn>
                  <a:cxn ang="0">
                    <a:pos x="14" y="7"/>
                  </a:cxn>
                  <a:cxn ang="0">
                    <a:pos x="15" y="7"/>
                  </a:cxn>
                  <a:cxn ang="0">
                    <a:pos x="12" y="2"/>
                  </a:cxn>
                </a:cxnLst>
                <a:rect l="0" t="0" r="r" b="b"/>
                <a:pathLst>
                  <a:path w="75" h="21">
                    <a:moveTo>
                      <a:pt x="12" y="2"/>
                    </a:moveTo>
                    <a:lnTo>
                      <a:pt x="10" y="2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4" y="15"/>
                    </a:lnTo>
                    <a:lnTo>
                      <a:pt x="5" y="15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4" y="21"/>
                    </a:lnTo>
                    <a:lnTo>
                      <a:pt x="60" y="21"/>
                    </a:lnTo>
                    <a:lnTo>
                      <a:pt x="67" y="20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2"/>
                    </a:lnTo>
                    <a:lnTo>
                      <a:pt x="75" y="10"/>
                    </a:lnTo>
                    <a:lnTo>
                      <a:pt x="75" y="7"/>
                    </a:lnTo>
                    <a:lnTo>
                      <a:pt x="73" y="5"/>
                    </a:lnTo>
                    <a:lnTo>
                      <a:pt x="73" y="3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65" y="0"/>
                    </a:lnTo>
                    <a:lnTo>
                      <a:pt x="62" y="3"/>
                    </a:lnTo>
                    <a:lnTo>
                      <a:pt x="62" y="7"/>
                    </a:lnTo>
                    <a:lnTo>
                      <a:pt x="62" y="10"/>
                    </a:lnTo>
                    <a:lnTo>
                      <a:pt x="64" y="5"/>
                    </a:lnTo>
                    <a:lnTo>
                      <a:pt x="60" y="8"/>
                    </a:lnTo>
                    <a:lnTo>
                      <a:pt x="64" y="7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14" y="8"/>
                    </a:lnTo>
                    <a:lnTo>
                      <a:pt x="17" y="10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2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Freeform 219">
                <a:extLst>
                  <a:ext uri="{FF2B5EF4-FFF2-40B4-BE49-F238E27FC236}">
                    <a16:creationId xmlns:a16="http://schemas.microsoft.com/office/drawing/2014/main" id="{564CA441-C93A-4FC3-A139-44B561932A0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014"/>
                <a:ext cx="125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5" y="12"/>
                  </a:cxn>
                  <a:cxn ang="0">
                    <a:pos x="7" y="13"/>
                  </a:cxn>
                  <a:cxn ang="0">
                    <a:pos x="38" y="13"/>
                  </a:cxn>
                  <a:cxn ang="0">
                    <a:pos x="37" y="13"/>
                  </a:cxn>
                  <a:cxn ang="0">
                    <a:pos x="75" y="15"/>
                  </a:cxn>
                  <a:cxn ang="0">
                    <a:pos x="97" y="15"/>
                  </a:cxn>
                  <a:cxn ang="0">
                    <a:pos x="98" y="13"/>
                  </a:cxn>
                  <a:cxn ang="0">
                    <a:pos x="100" y="13"/>
                  </a:cxn>
                  <a:cxn ang="0">
                    <a:pos x="100" y="12"/>
                  </a:cxn>
                  <a:cxn ang="0">
                    <a:pos x="102" y="12"/>
                  </a:cxn>
                  <a:cxn ang="0">
                    <a:pos x="102" y="10"/>
                  </a:cxn>
                  <a:cxn ang="0">
                    <a:pos x="103" y="9"/>
                  </a:cxn>
                  <a:cxn ang="0">
                    <a:pos x="102" y="7"/>
                  </a:cxn>
                  <a:cxn ang="0">
                    <a:pos x="102" y="5"/>
                  </a:cxn>
                  <a:cxn ang="0">
                    <a:pos x="100" y="4"/>
                  </a:cxn>
                  <a:cxn ang="0">
                    <a:pos x="100" y="2"/>
                  </a:cxn>
                  <a:cxn ang="0">
                    <a:pos x="97" y="2"/>
                  </a:cxn>
                  <a:cxn ang="0">
                    <a:pos x="77" y="2"/>
                  </a:cxn>
                  <a:cxn ang="0">
                    <a:pos x="38" y="0"/>
                  </a:cxn>
                  <a:cxn ang="0">
                    <a:pos x="7" y="0"/>
                  </a:cxn>
                </a:cxnLst>
                <a:rect l="0" t="0" r="r" b="b"/>
                <a:pathLst>
                  <a:path w="103" h="15">
                    <a:moveTo>
                      <a:pt x="7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7" y="13"/>
                    </a:lnTo>
                    <a:lnTo>
                      <a:pt x="38" y="13"/>
                    </a:lnTo>
                    <a:lnTo>
                      <a:pt x="37" y="13"/>
                    </a:lnTo>
                    <a:lnTo>
                      <a:pt x="75" y="15"/>
                    </a:lnTo>
                    <a:lnTo>
                      <a:pt x="97" y="15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3" y="9"/>
                    </a:lnTo>
                    <a:lnTo>
                      <a:pt x="102" y="7"/>
                    </a:lnTo>
                    <a:lnTo>
                      <a:pt x="102" y="5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97" y="2"/>
                    </a:lnTo>
                    <a:lnTo>
                      <a:pt x="77" y="2"/>
                    </a:lnTo>
                    <a:lnTo>
                      <a:pt x="38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Freeform 220">
                <a:extLst>
                  <a:ext uri="{FF2B5EF4-FFF2-40B4-BE49-F238E27FC236}">
                    <a16:creationId xmlns:a16="http://schemas.microsoft.com/office/drawing/2014/main" id="{7BF57B25-403E-45EB-89F8-C76090EBF89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7" y="2041"/>
                <a:ext cx="76" cy="3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27" y="20"/>
                  </a:cxn>
                  <a:cxn ang="0">
                    <a:pos x="49" y="27"/>
                  </a:cxn>
                  <a:cxn ang="0">
                    <a:pos x="50" y="28"/>
                  </a:cxn>
                  <a:cxn ang="0">
                    <a:pos x="57" y="28"/>
                  </a:cxn>
                  <a:cxn ang="0">
                    <a:pos x="58" y="27"/>
                  </a:cxn>
                  <a:cxn ang="0">
                    <a:pos x="60" y="27"/>
                  </a:cxn>
                  <a:cxn ang="0">
                    <a:pos x="60" y="25"/>
                  </a:cxn>
                  <a:cxn ang="0">
                    <a:pos x="62" y="25"/>
                  </a:cxn>
                  <a:cxn ang="0">
                    <a:pos x="62" y="23"/>
                  </a:cxn>
                  <a:cxn ang="0">
                    <a:pos x="63" y="22"/>
                  </a:cxn>
                  <a:cxn ang="0">
                    <a:pos x="62" y="20"/>
                  </a:cxn>
                  <a:cxn ang="0">
                    <a:pos x="62" y="18"/>
                  </a:cxn>
                  <a:cxn ang="0">
                    <a:pos x="60" y="17"/>
                  </a:cxn>
                  <a:cxn ang="0">
                    <a:pos x="60" y="15"/>
                  </a:cxn>
                  <a:cxn ang="0">
                    <a:pos x="57" y="15"/>
                  </a:cxn>
                  <a:cxn ang="0">
                    <a:pos x="52" y="15"/>
                  </a:cxn>
                  <a:cxn ang="0">
                    <a:pos x="54" y="15"/>
                  </a:cxn>
                  <a:cxn ang="0">
                    <a:pos x="32" y="9"/>
                  </a:cxn>
                  <a:cxn ang="0">
                    <a:pos x="9" y="0"/>
                  </a:cxn>
                </a:cxnLst>
                <a:rect l="0" t="0" r="r" b="b"/>
                <a:pathLst>
                  <a:path w="63" h="28">
                    <a:moveTo>
                      <a:pt x="9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27" y="20"/>
                    </a:lnTo>
                    <a:lnTo>
                      <a:pt x="49" y="27"/>
                    </a:lnTo>
                    <a:lnTo>
                      <a:pt x="50" y="28"/>
                    </a:lnTo>
                    <a:lnTo>
                      <a:pt x="57" y="28"/>
                    </a:lnTo>
                    <a:lnTo>
                      <a:pt x="58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2" y="23"/>
                    </a:lnTo>
                    <a:lnTo>
                      <a:pt x="63" y="22"/>
                    </a:lnTo>
                    <a:lnTo>
                      <a:pt x="62" y="20"/>
                    </a:lnTo>
                    <a:lnTo>
                      <a:pt x="62" y="18"/>
                    </a:lnTo>
                    <a:lnTo>
                      <a:pt x="60" y="17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52" y="15"/>
                    </a:lnTo>
                    <a:lnTo>
                      <a:pt x="54" y="15"/>
                    </a:lnTo>
                    <a:lnTo>
                      <a:pt x="32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Freeform 221">
                <a:extLst>
                  <a:ext uri="{FF2B5EF4-FFF2-40B4-BE49-F238E27FC236}">
                    <a16:creationId xmlns:a16="http://schemas.microsoft.com/office/drawing/2014/main" id="{2C8C238A-3936-485A-95CB-9B6F0ED0916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45"/>
                <a:ext cx="46" cy="3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23" y="16"/>
                  </a:cxn>
                  <a:cxn ang="0">
                    <a:pos x="18" y="15"/>
                  </a:cxn>
                  <a:cxn ang="0">
                    <a:pos x="23" y="21"/>
                  </a:cxn>
                  <a:cxn ang="0">
                    <a:pos x="23" y="20"/>
                  </a:cxn>
                  <a:cxn ang="0">
                    <a:pos x="25" y="25"/>
                  </a:cxn>
                  <a:cxn ang="0">
                    <a:pos x="25" y="26"/>
                  </a:cxn>
                  <a:cxn ang="0">
                    <a:pos x="27" y="28"/>
                  </a:cxn>
                  <a:cxn ang="0">
                    <a:pos x="28" y="28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3" y="28"/>
                  </a:cxn>
                  <a:cxn ang="0">
                    <a:pos x="35" y="28"/>
                  </a:cxn>
                  <a:cxn ang="0">
                    <a:pos x="37" y="26"/>
                  </a:cxn>
                  <a:cxn ang="0">
                    <a:pos x="37" y="25"/>
                  </a:cxn>
                  <a:cxn ang="0">
                    <a:pos x="38" y="23"/>
                  </a:cxn>
                  <a:cxn ang="0">
                    <a:pos x="38" y="21"/>
                  </a:cxn>
                  <a:cxn ang="0">
                    <a:pos x="37" y="20"/>
                  </a:cxn>
                  <a:cxn ang="0">
                    <a:pos x="35" y="15"/>
                  </a:cxn>
                  <a:cxn ang="0">
                    <a:pos x="35" y="13"/>
                  </a:cxn>
                  <a:cxn ang="0">
                    <a:pos x="30" y="7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7" y="5"/>
                  </a:cxn>
                  <a:cxn ang="0">
                    <a:pos x="8" y="0"/>
                  </a:cxn>
                </a:cxnLst>
                <a:rect l="0" t="0" r="r" b="b"/>
                <a:pathLst>
                  <a:path w="38" h="29">
                    <a:moveTo>
                      <a:pt x="8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23" y="16"/>
                    </a:lnTo>
                    <a:lnTo>
                      <a:pt x="18" y="15"/>
                    </a:lnTo>
                    <a:lnTo>
                      <a:pt x="23" y="21"/>
                    </a:lnTo>
                    <a:lnTo>
                      <a:pt x="23" y="20"/>
                    </a:lnTo>
                    <a:lnTo>
                      <a:pt x="25" y="25"/>
                    </a:lnTo>
                    <a:lnTo>
                      <a:pt x="25" y="26"/>
                    </a:lnTo>
                    <a:lnTo>
                      <a:pt x="27" y="28"/>
                    </a:lnTo>
                    <a:lnTo>
                      <a:pt x="28" y="28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8"/>
                    </a:lnTo>
                    <a:lnTo>
                      <a:pt x="37" y="26"/>
                    </a:lnTo>
                    <a:lnTo>
                      <a:pt x="37" y="25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7" y="20"/>
                    </a:lnTo>
                    <a:lnTo>
                      <a:pt x="35" y="15"/>
                    </a:lnTo>
                    <a:lnTo>
                      <a:pt x="35" y="13"/>
                    </a:lnTo>
                    <a:lnTo>
                      <a:pt x="30" y="7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7" y="5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Freeform 222">
                <a:extLst>
                  <a:ext uri="{FF2B5EF4-FFF2-40B4-BE49-F238E27FC236}">
                    <a16:creationId xmlns:a16="http://schemas.microsoft.com/office/drawing/2014/main" id="{52088F87-0A6E-4579-BE9A-DFBD60A3C81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78"/>
                <a:ext cx="52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35" y="16"/>
                  </a:cxn>
                  <a:cxn ang="0">
                    <a:pos x="37" y="16"/>
                  </a:cxn>
                  <a:cxn ang="0">
                    <a:pos x="38" y="15"/>
                  </a:cxn>
                  <a:cxn ang="0">
                    <a:pos x="40" y="15"/>
                  </a:cxn>
                  <a:cxn ang="0">
                    <a:pos x="42" y="13"/>
                  </a:cxn>
                  <a:cxn ang="0">
                    <a:pos x="42" y="11"/>
                  </a:cxn>
                  <a:cxn ang="0">
                    <a:pos x="43" y="10"/>
                  </a:cxn>
                  <a:cxn ang="0">
                    <a:pos x="43" y="8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37" y="3"/>
                  </a:cxn>
                  <a:cxn ang="0">
                    <a:pos x="7" y="0"/>
                  </a:cxn>
                </a:cxnLst>
                <a:rect l="0" t="0" r="r" b="b"/>
                <a:pathLst>
                  <a:path w="43" h="16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35" y="16"/>
                    </a:lnTo>
                    <a:lnTo>
                      <a:pt x="37" y="16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2" y="13"/>
                    </a:lnTo>
                    <a:lnTo>
                      <a:pt x="42" y="11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37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Freeform 223">
                <a:extLst>
                  <a:ext uri="{FF2B5EF4-FFF2-40B4-BE49-F238E27FC236}">
                    <a16:creationId xmlns:a16="http://schemas.microsoft.com/office/drawing/2014/main" id="{8DA24E89-38C6-4725-BF58-1FE33890706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4" y="2091"/>
                <a:ext cx="34" cy="22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1" y="5"/>
                  </a:cxn>
                  <a:cxn ang="0">
                    <a:pos x="1" y="7"/>
                  </a:cxn>
                  <a:cxn ang="0">
                    <a:pos x="0" y="8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3" y="16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8" y="16"/>
                  </a:cxn>
                  <a:cxn ang="0">
                    <a:pos x="23" y="12"/>
                  </a:cxn>
                  <a:cxn ang="0">
                    <a:pos x="24" y="12"/>
                  </a:cxn>
                  <a:cxn ang="0">
                    <a:pos x="26" y="10"/>
                  </a:cxn>
                  <a:cxn ang="0">
                    <a:pos x="26" y="8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6" y="3"/>
                  </a:cxn>
                  <a:cxn ang="0">
                    <a:pos x="26" y="2"/>
                  </a:cxn>
                  <a:cxn ang="0">
                    <a:pos x="24" y="2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3" y="5"/>
                  </a:cxn>
                </a:cxnLst>
                <a:rect l="0" t="0" r="r" b="b"/>
                <a:pathLst>
                  <a:path w="28" h="18">
                    <a:moveTo>
                      <a:pt x="3" y="5"/>
                    </a:moveTo>
                    <a:lnTo>
                      <a:pt x="1" y="5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23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Freeform 224">
                <a:extLst>
                  <a:ext uri="{FF2B5EF4-FFF2-40B4-BE49-F238E27FC236}">
                    <a16:creationId xmlns:a16="http://schemas.microsoft.com/office/drawing/2014/main" id="{C9639184-7B76-433F-8252-4E583B6C798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9" y="2071"/>
                <a:ext cx="50" cy="110"/>
              </a:xfrm>
              <a:custGeom>
                <a:avLst/>
                <a:gdLst/>
                <a:ahLst/>
                <a:cxnLst>
                  <a:cxn ang="0">
                    <a:pos x="40" y="8"/>
                  </a:cxn>
                  <a:cxn ang="0">
                    <a:pos x="41" y="7"/>
                  </a:cxn>
                  <a:cxn ang="0">
                    <a:pos x="41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8" y="3"/>
                  </a:cxn>
                  <a:cxn ang="0">
                    <a:pos x="28" y="5"/>
                  </a:cxn>
                  <a:cxn ang="0">
                    <a:pos x="15" y="51"/>
                  </a:cxn>
                  <a:cxn ang="0">
                    <a:pos x="15" y="49"/>
                  </a:cxn>
                  <a:cxn ang="0">
                    <a:pos x="0" y="80"/>
                  </a:cxn>
                  <a:cxn ang="0">
                    <a:pos x="0" y="87"/>
                  </a:cxn>
                  <a:cxn ang="0">
                    <a:pos x="1" y="88"/>
                  </a:cxn>
                  <a:cxn ang="0">
                    <a:pos x="3" y="88"/>
                  </a:cxn>
                  <a:cxn ang="0">
                    <a:pos x="5" y="90"/>
                  </a:cxn>
                  <a:cxn ang="0">
                    <a:pos x="6" y="90"/>
                  </a:cxn>
                  <a:cxn ang="0">
                    <a:pos x="8" y="88"/>
                  </a:cxn>
                  <a:cxn ang="0">
                    <a:pos x="10" y="88"/>
                  </a:cxn>
                  <a:cxn ang="0">
                    <a:pos x="11" y="87"/>
                  </a:cxn>
                  <a:cxn ang="0">
                    <a:pos x="11" y="85"/>
                  </a:cxn>
                  <a:cxn ang="0">
                    <a:pos x="26" y="54"/>
                  </a:cxn>
                  <a:cxn ang="0">
                    <a:pos x="40" y="8"/>
                  </a:cxn>
                </a:cxnLst>
                <a:rect l="0" t="0" r="r" b="b"/>
                <a:pathLst>
                  <a:path w="41" h="90">
                    <a:moveTo>
                      <a:pt x="40" y="8"/>
                    </a:moveTo>
                    <a:lnTo>
                      <a:pt x="41" y="7"/>
                    </a:lnTo>
                    <a:lnTo>
                      <a:pt x="41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1" y="88"/>
                    </a:lnTo>
                    <a:lnTo>
                      <a:pt x="3" y="88"/>
                    </a:lnTo>
                    <a:lnTo>
                      <a:pt x="5" y="90"/>
                    </a:lnTo>
                    <a:lnTo>
                      <a:pt x="6" y="90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1" y="87"/>
                    </a:lnTo>
                    <a:lnTo>
                      <a:pt x="11" y="85"/>
                    </a:lnTo>
                    <a:lnTo>
                      <a:pt x="26" y="54"/>
                    </a:lnTo>
                    <a:lnTo>
                      <a:pt x="4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Freeform 225">
                <a:extLst>
                  <a:ext uri="{FF2B5EF4-FFF2-40B4-BE49-F238E27FC236}">
                    <a16:creationId xmlns:a16="http://schemas.microsoft.com/office/drawing/2014/main" id="{3DC4A1A6-2F5A-44CE-B80C-15793683A0A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29" y="1948"/>
                <a:ext cx="47" cy="3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" y="10"/>
                  </a:cxn>
                  <a:cxn ang="0">
                    <a:pos x="1" y="12"/>
                  </a:cxn>
                  <a:cxn ang="0">
                    <a:pos x="13" y="20"/>
                  </a:cxn>
                  <a:cxn ang="0">
                    <a:pos x="15" y="20"/>
                  </a:cxn>
                  <a:cxn ang="0">
                    <a:pos x="30" y="28"/>
                  </a:cxn>
                  <a:cxn ang="0">
                    <a:pos x="31" y="29"/>
                  </a:cxn>
                  <a:cxn ang="0">
                    <a:pos x="33" y="29"/>
                  </a:cxn>
                  <a:cxn ang="0">
                    <a:pos x="34" y="28"/>
                  </a:cxn>
                  <a:cxn ang="0">
                    <a:pos x="36" y="28"/>
                  </a:cxn>
                  <a:cxn ang="0">
                    <a:pos x="39" y="25"/>
                  </a:cxn>
                  <a:cxn ang="0">
                    <a:pos x="39" y="23"/>
                  </a:cxn>
                  <a:cxn ang="0">
                    <a:pos x="38" y="21"/>
                  </a:cxn>
                  <a:cxn ang="0">
                    <a:pos x="38" y="20"/>
                  </a:cxn>
                  <a:cxn ang="0">
                    <a:pos x="36" y="18"/>
                  </a:cxn>
                  <a:cxn ang="0">
                    <a:pos x="36" y="16"/>
                  </a:cxn>
                  <a:cxn ang="0">
                    <a:pos x="21" y="8"/>
                  </a:cxn>
                  <a:cxn ang="0">
                    <a:pos x="10" y="0"/>
                  </a:cxn>
                </a:cxnLst>
                <a:rect l="0" t="0" r="r" b="b"/>
                <a:pathLst>
                  <a:path w="39" h="29">
                    <a:moveTo>
                      <a:pt x="10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13" y="20"/>
                    </a:lnTo>
                    <a:lnTo>
                      <a:pt x="15" y="20"/>
                    </a:lnTo>
                    <a:lnTo>
                      <a:pt x="30" y="28"/>
                    </a:lnTo>
                    <a:lnTo>
                      <a:pt x="31" y="29"/>
                    </a:lnTo>
                    <a:lnTo>
                      <a:pt x="33" y="29"/>
                    </a:lnTo>
                    <a:lnTo>
                      <a:pt x="34" y="28"/>
                    </a:lnTo>
                    <a:lnTo>
                      <a:pt x="36" y="28"/>
                    </a:lnTo>
                    <a:lnTo>
                      <a:pt x="39" y="25"/>
                    </a:lnTo>
                    <a:lnTo>
                      <a:pt x="39" y="23"/>
                    </a:lnTo>
                    <a:lnTo>
                      <a:pt x="38" y="21"/>
                    </a:lnTo>
                    <a:lnTo>
                      <a:pt x="38" y="20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21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Freeform 226">
                <a:extLst>
                  <a:ext uri="{FF2B5EF4-FFF2-40B4-BE49-F238E27FC236}">
                    <a16:creationId xmlns:a16="http://schemas.microsoft.com/office/drawing/2014/main" id="{0D7906A2-2398-4C82-9E2A-C6BC4978A19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0" y="1989"/>
                <a:ext cx="207" cy="116"/>
              </a:xfrm>
              <a:custGeom>
                <a:avLst/>
                <a:gdLst/>
                <a:ahLst/>
                <a:cxnLst>
                  <a:cxn ang="0">
                    <a:pos x="5" y="82"/>
                  </a:cxn>
                  <a:cxn ang="0">
                    <a:pos x="4" y="82"/>
                  </a:cxn>
                  <a:cxn ang="0">
                    <a:pos x="0" y="85"/>
                  </a:cxn>
                  <a:cxn ang="0">
                    <a:pos x="0" y="91"/>
                  </a:cxn>
                  <a:cxn ang="0">
                    <a:pos x="2" y="91"/>
                  </a:cxn>
                  <a:cxn ang="0">
                    <a:pos x="4" y="93"/>
                  </a:cxn>
                  <a:cxn ang="0">
                    <a:pos x="5" y="93"/>
                  </a:cxn>
                  <a:cxn ang="0">
                    <a:pos x="7" y="95"/>
                  </a:cxn>
                  <a:cxn ang="0">
                    <a:pos x="9" y="95"/>
                  </a:cxn>
                  <a:cxn ang="0">
                    <a:pos x="22" y="91"/>
                  </a:cxn>
                  <a:cxn ang="0">
                    <a:pos x="22" y="90"/>
                  </a:cxn>
                  <a:cxn ang="0">
                    <a:pos x="62" y="70"/>
                  </a:cxn>
                  <a:cxn ang="0">
                    <a:pos x="63" y="70"/>
                  </a:cxn>
                  <a:cxn ang="0">
                    <a:pos x="83" y="55"/>
                  </a:cxn>
                  <a:cxn ang="0">
                    <a:pos x="85" y="54"/>
                  </a:cxn>
                  <a:cxn ang="0">
                    <a:pos x="100" y="36"/>
                  </a:cxn>
                  <a:cxn ang="0">
                    <a:pos x="98" y="37"/>
                  </a:cxn>
                  <a:cxn ang="0">
                    <a:pos x="123" y="20"/>
                  </a:cxn>
                  <a:cxn ang="0">
                    <a:pos x="121" y="20"/>
                  </a:cxn>
                  <a:cxn ang="0">
                    <a:pos x="138" y="13"/>
                  </a:cxn>
                  <a:cxn ang="0">
                    <a:pos x="136" y="15"/>
                  </a:cxn>
                  <a:cxn ang="0">
                    <a:pos x="151" y="13"/>
                  </a:cxn>
                  <a:cxn ang="0">
                    <a:pos x="150" y="13"/>
                  </a:cxn>
                  <a:cxn ang="0">
                    <a:pos x="158" y="15"/>
                  </a:cxn>
                  <a:cxn ang="0">
                    <a:pos x="156" y="13"/>
                  </a:cxn>
                  <a:cxn ang="0">
                    <a:pos x="160" y="15"/>
                  </a:cxn>
                  <a:cxn ang="0">
                    <a:pos x="161" y="16"/>
                  </a:cxn>
                  <a:cxn ang="0">
                    <a:pos x="163" y="16"/>
                  </a:cxn>
                  <a:cxn ang="0">
                    <a:pos x="165" y="15"/>
                  </a:cxn>
                  <a:cxn ang="0">
                    <a:pos x="166" y="15"/>
                  </a:cxn>
                  <a:cxn ang="0">
                    <a:pos x="168" y="13"/>
                  </a:cxn>
                  <a:cxn ang="0">
                    <a:pos x="168" y="11"/>
                  </a:cxn>
                  <a:cxn ang="0">
                    <a:pos x="170" y="10"/>
                  </a:cxn>
                  <a:cxn ang="0">
                    <a:pos x="170" y="8"/>
                  </a:cxn>
                  <a:cxn ang="0">
                    <a:pos x="168" y="6"/>
                  </a:cxn>
                  <a:cxn ang="0">
                    <a:pos x="168" y="5"/>
                  </a:cxn>
                  <a:cxn ang="0">
                    <a:pos x="166" y="5"/>
                  </a:cxn>
                  <a:cxn ang="0">
                    <a:pos x="165" y="3"/>
                  </a:cxn>
                  <a:cxn ang="0">
                    <a:pos x="161" y="2"/>
                  </a:cxn>
                  <a:cxn ang="0">
                    <a:pos x="160" y="2"/>
                  </a:cxn>
                  <a:cxn ang="0">
                    <a:pos x="151" y="0"/>
                  </a:cxn>
                  <a:cxn ang="0">
                    <a:pos x="150" y="0"/>
                  </a:cxn>
                  <a:cxn ang="0">
                    <a:pos x="135" y="2"/>
                  </a:cxn>
                  <a:cxn ang="0">
                    <a:pos x="133" y="2"/>
                  </a:cxn>
                  <a:cxn ang="0">
                    <a:pos x="117" y="8"/>
                  </a:cxn>
                  <a:cxn ang="0">
                    <a:pos x="115" y="8"/>
                  </a:cxn>
                  <a:cxn ang="0">
                    <a:pos x="90" y="26"/>
                  </a:cxn>
                  <a:cxn ang="0">
                    <a:pos x="90" y="28"/>
                  </a:cxn>
                  <a:cxn ang="0">
                    <a:pos x="75" y="46"/>
                  </a:cxn>
                  <a:cxn ang="0">
                    <a:pos x="75" y="44"/>
                  </a:cxn>
                  <a:cxn ang="0">
                    <a:pos x="55" y="59"/>
                  </a:cxn>
                  <a:cxn ang="0">
                    <a:pos x="57" y="59"/>
                  </a:cxn>
                  <a:cxn ang="0">
                    <a:pos x="17" y="78"/>
                  </a:cxn>
                  <a:cxn ang="0">
                    <a:pos x="19" y="78"/>
                  </a:cxn>
                  <a:cxn ang="0">
                    <a:pos x="5" y="82"/>
                  </a:cxn>
                </a:cxnLst>
                <a:rect l="0" t="0" r="r" b="b"/>
                <a:pathLst>
                  <a:path w="170" h="95">
                    <a:moveTo>
                      <a:pt x="5" y="82"/>
                    </a:moveTo>
                    <a:lnTo>
                      <a:pt x="4" y="82"/>
                    </a:lnTo>
                    <a:lnTo>
                      <a:pt x="0" y="85"/>
                    </a:lnTo>
                    <a:lnTo>
                      <a:pt x="0" y="91"/>
                    </a:lnTo>
                    <a:lnTo>
                      <a:pt x="2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7" y="95"/>
                    </a:lnTo>
                    <a:lnTo>
                      <a:pt x="9" y="95"/>
                    </a:lnTo>
                    <a:lnTo>
                      <a:pt x="22" y="91"/>
                    </a:lnTo>
                    <a:lnTo>
                      <a:pt x="22" y="90"/>
                    </a:lnTo>
                    <a:lnTo>
                      <a:pt x="62" y="70"/>
                    </a:lnTo>
                    <a:lnTo>
                      <a:pt x="63" y="70"/>
                    </a:lnTo>
                    <a:lnTo>
                      <a:pt x="83" y="55"/>
                    </a:lnTo>
                    <a:lnTo>
                      <a:pt x="85" y="54"/>
                    </a:lnTo>
                    <a:lnTo>
                      <a:pt x="100" y="36"/>
                    </a:lnTo>
                    <a:lnTo>
                      <a:pt x="98" y="37"/>
                    </a:lnTo>
                    <a:lnTo>
                      <a:pt x="123" y="20"/>
                    </a:lnTo>
                    <a:lnTo>
                      <a:pt x="121" y="20"/>
                    </a:lnTo>
                    <a:lnTo>
                      <a:pt x="138" y="13"/>
                    </a:lnTo>
                    <a:lnTo>
                      <a:pt x="136" y="15"/>
                    </a:lnTo>
                    <a:lnTo>
                      <a:pt x="151" y="13"/>
                    </a:lnTo>
                    <a:lnTo>
                      <a:pt x="150" y="13"/>
                    </a:lnTo>
                    <a:lnTo>
                      <a:pt x="158" y="15"/>
                    </a:lnTo>
                    <a:lnTo>
                      <a:pt x="156" y="13"/>
                    </a:lnTo>
                    <a:lnTo>
                      <a:pt x="160" y="15"/>
                    </a:lnTo>
                    <a:lnTo>
                      <a:pt x="161" y="16"/>
                    </a:lnTo>
                    <a:lnTo>
                      <a:pt x="163" y="16"/>
                    </a:lnTo>
                    <a:lnTo>
                      <a:pt x="165" y="15"/>
                    </a:lnTo>
                    <a:lnTo>
                      <a:pt x="166" y="15"/>
                    </a:lnTo>
                    <a:lnTo>
                      <a:pt x="168" y="13"/>
                    </a:lnTo>
                    <a:lnTo>
                      <a:pt x="168" y="11"/>
                    </a:lnTo>
                    <a:lnTo>
                      <a:pt x="170" y="10"/>
                    </a:lnTo>
                    <a:lnTo>
                      <a:pt x="170" y="8"/>
                    </a:lnTo>
                    <a:lnTo>
                      <a:pt x="168" y="6"/>
                    </a:lnTo>
                    <a:lnTo>
                      <a:pt x="168" y="5"/>
                    </a:lnTo>
                    <a:lnTo>
                      <a:pt x="166" y="5"/>
                    </a:lnTo>
                    <a:lnTo>
                      <a:pt x="165" y="3"/>
                    </a:lnTo>
                    <a:lnTo>
                      <a:pt x="161" y="2"/>
                    </a:lnTo>
                    <a:lnTo>
                      <a:pt x="160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35" y="2"/>
                    </a:lnTo>
                    <a:lnTo>
                      <a:pt x="133" y="2"/>
                    </a:lnTo>
                    <a:lnTo>
                      <a:pt x="117" y="8"/>
                    </a:lnTo>
                    <a:lnTo>
                      <a:pt x="115" y="8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75" y="46"/>
                    </a:lnTo>
                    <a:lnTo>
                      <a:pt x="75" y="44"/>
                    </a:lnTo>
                    <a:lnTo>
                      <a:pt x="55" y="59"/>
                    </a:lnTo>
                    <a:lnTo>
                      <a:pt x="57" y="59"/>
                    </a:lnTo>
                    <a:lnTo>
                      <a:pt x="17" y="78"/>
                    </a:lnTo>
                    <a:lnTo>
                      <a:pt x="19" y="78"/>
                    </a:lnTo>
                    <a:lnTo>
                      <a:pt x="5" y="8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 227">
                <a:extLst>
                  <a:ext uri="{FF2B5EF4-FFF2-40B4-BE49-F238E27FC236}">
                    <a16:creationId xmlns:a16="http://schemas.microsoft.com/office/drawing/2014/main" id="{1BD81BE4-0A33-4E0E-AA5A-F7DC4F18856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5" y="2060"/>
                <a:ext cx="56" cy="114"/>
              </a:xfrm>
              <a:custGeom>
                <a:avLst/>
                <a:gdLst/>
                <a:ahLst/>
                <a:cxnLst>
                  <a:cxn ang="0">
                    <a:pos x="43" y="11"/>
                  </a:cxn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0"/>
                  </a:cxn>
                  <a:cxn ang="0">
                    <a:pos x="35" y="0"/>
                  </a:cxn>
                  <a:cxn ang="0">
                    <a:pos x="28" y="4"/>
                  </a:cxn>
                  <a:cxn ang="0">
                    <a:pos x="26" y="6"/>
                  </a:cxn>
                  <a:cxn ang="0">
                    <a:pos x="26" y="8"/>
                  </a:cxn>
                  <a:cxn ang="0">
                    <a:pos x="21" y="19"/>
                  </a:cxn>
                  <a:cxn ang="0">
                    <a:pos x="13" y="44"/>
                  </a:cxn>
                  <a:cxn ang="0">
                    <a:pos x="5" y="63"/>
                  </a:cxn>
                  <a:cxn ang="0">
                    <a:pos x="5" y="65"/>
                  </a:cxn>
                  <a:cxn ang="0">
                    <a:pos x="1" y="80"/>
                  </a:cxn>
                  <a:cxn ang="0">
                    <a:pos x="1" y="78"/>
                  </a:cxn>
                  <a:cxn ang="0">
                    <a:pos x="0" y="81"/>
                  </a:cxn>
                  <a:cxn ang="0">
                    <a:pos x="0" y="88"/>
                  </a:cxn>
                  <a:cxn ang="0">
                    <a:pos x="1" y="88"/>
                  </a:cxn>
                  <a:cxn ang="0">
                    <a:pos x="6" y="93"/>
                  </a:cxn>
                  <a:cxn ang="0">
                    <a:pos x="8" y="93"/>
                  </a:cxn>
                  <a:cxn ang="0">
                    <a:pos x="10" y="94"/>
                  </a:cxn>
                  <a:cxn ang="0">
                    <a:pos x="11" y="93"/>
                  </a:cxn>
                  <a:cxn ang="0">
                    <a:pos x="13" y="93"/>
                  </a:cxn>
                  <a:cxn ang="0">
                    <a:pos x="13" y="91"/>
                  </a:cxn>
                  <a:cxn ang="0">
                    <a:pos x="15" y="91"/>
                  </a:cxn>
                  <a:cxn ang="0">
                    <a:pos x="15" y="89"/>
                  </a:cxn>
                  <a:cxn ang="0">
                    <a:pos x="16" y="88"/>
                  </a:cxn>
                  <a:cxn ang="0">
                    <a:pos x="15" y="86"/>
                  </a:cxn>
                  <a:cxn ang="0">
                    <a:pos x="15" y="84"/>
                  </a:cxn>
                  <a:cxn ang="0">
                    <a:pos x="13" y="83"/>
                  </a:cxn>
                  <a:cxn ang="0">
                    <a:pos x="10" y="80"/>
                  </a:cxn>
                  <a:cxn ang="0">
                    <a:pos x="11" y="86"/>
                  </a:cxn>
                  <a:cxn ang="0">
                    <a:pos x="13" y="83"/>
                  </a:cxn>
                  <a:cxn ang="0">
                    <a:pos x="15" y="81"/>
                  </a:cxn>
                  <a:cxn ang="0">
                    <a:pos x="18" y="66"/>
                  </a:cxn>
                  <a:cxn ang="0">
                    <a:pos x="16" y="68"/>
                  </a:cxn>
                  <a:cxn ang="0">
                    <a:pos x="25" y="49"/>
                  </a:cxn>
                  <a:cxn ang="0">
                    <a:pos x="33" y="24"/>
                  </a:cxn>
                  <a:cxn ang="0">
                    <a:pos x="38" y="13"/>
                  </a:cxn>
                  <a:cxn ang="0">
                    <a:pos x="36" y="16"/>
                  </a:cxn>
                  <a:cxn ang="0">
                    <a:pos x="43" y="11"/>
                  </a:cxn>
                </a:cxnLst>
                <a:rect l="0" t="0" r="r" b="b"/>
                <a:pathLst>
                  <a:path w="46" h="94">
                    <a:moveTo>
                      <a:pt x="43" y="11"/>
                    </a:moveTo>
                    <a:lnTo>
                      <a:pt x="45" y="9"/>
                    </a:ln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0"/>
                    </a:lnTo>
                    <a:lnTo>
                      <a:pt x="35" y="0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1" y="19"/>
                    </a:lnTo>
                    <a:lnTo>
                      <a:pt x="13" y="44"/>
                    </a:lnTo>
                    <a:lnTo>
                      <a:pt x="5" y="63"/>
                    </a:lnTo>
                    <a:lnTo>
                      <a:pt x="5" y="65"/>
                    </a:lnTo>
                    <a:lnTo>
                      <a:pt x="1" y="80"/>
                    </a:lnTo>
                    <a:lnTo>
                      <a:pt x="1" y="78"/>
                    </a:lnTo>
                    <a:lnTo>
                      <a:pt x="0" y="81"/>
                    </a:lnTo>
                    <a:lnTo>
                      <a:pt x="0" y="88"/>
                    </a:lnTo>
                    <a:lnTo>
                      <a:pt x="1" y="88"/>
                    </a:lnTo>
                    <a:lnTo>
                      <a:pt x="6" y="93"/>
                    </a:lnTo>
                    <a:lnTo>
                      <a:pt x="8" y="93"/>
                    </a:lnTo>
                    <a:lnTo>
                      <a:pt x="10" y="94"/>
                    </a:lnTo>
                    <a:lnTo>
                      <a:pt x="11" y="93"/>
                    </a:lnTo>
                    <a:lnTo>
                      <a:pt x="13" y="93"/>
                    </a:lnTo>
                    <a:lnTo>
                      <a:pt x="13" y="91"/>
                    </a:lnTo>
                    <a:lnTo>
                      <a:pt x="15" y="91"/>
                    </a:lnTo>
                    <a:lnTo>
                      <a:pt x="15" y="89"/>
                    </a:lnTo>
                    <a:lnTo>
                      <a:pt x="16" y="88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3" y="83"/>
                    </a:lnTo>
                    <a:lnTo>
                      <a:pt x="10" y="80"/>
                    </a:lnTo>
                    <a:lnTo>
                      <a:pt x="11" y="86"/>
                    </a:lnTo>
                    <a:lnTo>
                      <a:pt x="13" y="83"/>
                    </a:lnTo>
                    <a:lnTo>
                      <a:pt x="15" y="81"/>
                    </a:lnTo>
                    <a:lnTo>
                      <a:pt x="18" y="66"/>
                    </a:lnTo>
                    <a:lnTo>
                      <a:pt x="16" y="68"/>
                    </a:lnTo>
                    <a:lnTo>
                      <a:pt x="25" y="49"/>
                    </a:lnTo>
                    <a:lnTo>
                      <a:pt x="33" y="24"/>
                    </a:lnTo>
                    <a:lnTo>
                      <a:pt x="38" y="13"/>
                    </a:lnTo>
                    <a:lnTo>
                      <a:pt x="36" y="16"/>
                    </a:lnTo>
                    <a:lnTo>
                      <a:pt x="43" y="1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Freeform 228">
                <a:extLst>
                  <a:ext uri="{FF2B5EF4-FFF2-40B4-BE49-F238E27FC236}">
                    <a16:creationId xmlns:a16="http://schemas.microsoft.com/office/drawing/2014/main" id="{E9952BF4-5596-49E6-A14E-1949EB6DE82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5" y="1936"/>
                <a:ext cx="68" cy="38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2" y="29"/>
                  </a:cxn>
                  <a:cxn ang="0">
                    <a:pos x="3" y="29"/>
                  </a:cxn>
                  <a:cxn ang="0">
                    <a:pos x="5" y="31"/>
                  </a:cxn>
                  <a:cxn ang="0">
                    <a:pos x="7" y="31"/>
                  </a:cxn>
                  <a:cxn ang="0">
                    <a:pos x="8" y="29"/>
                  </a:cxn>
                  <a:cxn ang="0">
                    <a:pos x="10" y="29"/>
                  </a:cxn>
                  <a:cxn ang="0">
                    <a:pos x="12" y="28"/>
                  </a:cxn>
                  <a:cxn ang="0">
                    <a:pos x="15" y="23"/>
                  </a:cxn>
                  <a:cxn ang="0">
                    <a:pos x="13" y="25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30" y="16"/>
                  </a:cxn>
                  <a:cxn ang="0">
                    <a:pos x="30" y="18"/>
                  </a:cxn>
                  <a:cxn ang="0">
                    <a:pos x="51" y="13"/>
                  </a:cxn>
                  <a:cxn ang="0">
                    <a:pos x="55" y="10"/>
                  </a:cxn>
                  <a:cxn ang="0">
                    <a:pos x="55" y="8"/>
                  </a:cxn>
                  <a:cxn ang="0">
                    <a:pos x="56" y="7"/>
                  </a:cxn>
                  <a:cxn ang="0">
                    <a:pos x="56" y="5"/>
                  </a:cxn>
                  <a:cxn ang="0">
                    <a:pos x="55" y="3"/>
                  </a:cxn>
                  <a:cxn ang="0">
                    <a:pos x="55" y="2"/>
                  </a:cxn>
                  <a:cxn ang="0">
                    <a:pos x="53" y="0"/>
                  </a:cxn>
                  <a:cxn ang="0">
                    <a:pos x="48" y="0"/>
                  </a:cxn>
                  <a:cxn ang="0">
                    <a:pos x="27" y="5"/>
                  </a:cxn>
                  <a:cxn ang="0">
                    <a:pos x="25" y="5"/>
                  </a:cxn>
                  <a:cxn ang="0">
                    <a:pos x="15" y="8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0" y="20"/>
                  </a:cxn>
                </a:cxnLst>
                <a:rect l="0" t="0" r="r" b="b"/>
                <a:pathLst>
                  <a:path w="56" h="31">
                    <a:moveTo>
                      <a:pt x="0" y="20"/>
                    </a:moveTo>
                    <a:lnTo>
                      <a:pt x="0" y="26"/>
                    </a:lnTo>
                    <a:lnTo>
                      <a:pt x="2" y="28"/>
                    </a:lnTo>
                    <a:lnTo>
                      <a:pt x="2" y="29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7" y="31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5" y="23"/>
                    </a:lnTo>
                    <a:lnTo>
                      <a:pt x="13" y="25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51" y="13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6" y="7"/>
                    </a:lnTo>
                    <a:lnTo>
                      <a:pt x="56" y="5"/>
                    </a:lnTo>
                    <a:lnTo>
                      <a:pt x="55" y="3"/>
                    </a:lnTo>
                    <a:lnTo>
                      <a:pt x="55" y="2"/>
                    </a:lnTo>
                    <a:lnTo>
                      <a:pt x="53" y="0"/>
                    </a:lnTo>
                    <a:lnTo>
                      <a:pt x="48" y="0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15" y="8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Freeform 229">
                <a:extLst>
                  <a:ext uri="{FF2B5EF4-FFF2-40B4-BE49-F238E27FC236}">
                    <a16:creationId xmlns:a16="http://schemas.microsoft.com/office/drawing/2014/main" id="{4118E4C1-A534-46B4-A889-01470658C73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2" y="1901"/>
                <a:ext cx="71" cy="83"/>
              </a:xfrm>
              <a:custGeom>
                <a:avLst/>
                <a:gdLst/>
                <a:ahLst/>
                <a:cxnLst>
                  <a:cxn ang="0">
                    <a:pos x="49" y="67"/>
                  </a:cxn>
                  <a:cxn ang="0">
                    <a:pos x="50" y="68"/>
                  </a:cxn>
                  <a:cxn ang="0">
                    <a:pos x="52" y="68"/>
                  </a:cxn>
                  <a:cxn ang="0">
                    <a:pos x="54" y="67"/>
                  </a:cxn>
                  <a:cxn ang="0">
                    <a:pos x="55" y="67"/>
                  </a:cxn>
                  <a:cxn ang="0">
                    <a:pos x="57" y="65"/>
                  </a:cxn>
                  <a:cxn ang="0">
                    <a:pos x="57" y="64"/>
                  </a:cxn>
                  <a:cxn ang="0">
                    <a:pos x="59" y="62"/>
                  </a:cxn>
                  <a:cxn ang="0">
                    <a:pos x="59" y="60"/>
                  </a:cxn>
                  <a:cxn ang="0">
                    <a:pos x="57" y="59"/>
                  </a:cxn>
                  <a:cxn ang="0">
                    <a:pos x="57" y="57"/>
                  </a:cxn>
                  <a:cxn ang="0">
                    <a:pos x="55" y="57"/>
                  </a:cxn>
                  <a:cxn ang="0">
                    <a:pos x="54" y="55"/>
                  </a:cxn>
                  <a:cxn ang="0">
                    <a:pos x="39" y="49"/>
                  </a:cxn>
                  <a:cxn ang="0">
                    <a:pos x="40" y="49"/>
                  </a:cxn>
                  <a:cxn ang="0">
                    <a:pos x="29" y="41"/>
                  </a:cxn>
                  <a:cxn ang="0">
                    <a:pos x="32" y="47"/>
                  </a:cxn>
                  <a:cxn ang="0">
                    <a:pos x="32" y="34"/>
                  </a:cxn>
                  <a:cxn ang="0">
                    <a:pos x="30" y="33"/>
                  </a:cxn>
                  <a:cxn ang="0">
                    <a:pos x="30" y="31"/>
                  </a:cxn>
                  <a:cxn ang="0">
                    <a:pos x="24" y="20"/>
                  </a:cxn>
                  <a:cxn ang="0">
                    <a:pos x="19" y="11"/>
                  </a:cxn>
                  <a:cxn ang="0">
                    <a:pos x="19" y="10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9" y="18"/>
                  </a:cxn>
                  <a:cxn ang="0">
                    <a:pos x="7" y="18"/>
                  </a:cxn>
                  <a:cxn ang="0">
                    <a:pos x="12" y="26"/>
                  </a:cxn>
                  <a:cxn ang="0">
                    <a:pos x="19" y="38"/>
                  </a:cxn>
                  <a:cxn ang="0">
                    <a:pos x="19" y="34"/>
                  </a:cxn>
                  <a:cxn ang="0">
                    <a:pos x="19" y="49"/>
                  </a:cxn>
                  <a:cxn ang="0">
                    <a:pos x="20" y="51"/>
                  </a:cxn>
                  <a:cxn ang="0">
                    <a:pos x="20" y="52"/>
                  </a:cxn>
                  <a:cxn ang="0">
                    <a:pos x="32" y="60"/>
                  </a:cxn>
                  <a:cxn ang="0">
                    <a:pos x="34" y="60"/>
                  </a:cxn>
                  <a:cxn ang="0">
                    <a:pos x="49" y="67"/>
                  </a:cxn>
                </a:cxnLst>
                <a:rect l="0" t="0" r="r" b="b"/>
                <a:pathLst>
                  <a:path w="59" h="68">
                    <a:moveTo>
                      <a:pt x="49" y="67"/>
                    </a:moveTo>
                    <a:lnTo>
                      <a:pt x="50" y="68"/>
                    </a:lnTo>
                    <a:lnTo>
                      <a:pt x="52" y="68"/>
                    </a:lnTo>
                    <a:lnTo>
                      <a:pt x="54" y="67"/>
                    </a:lnTo>
                    <a:lnTo>
                      <a:pt x="55" y="67"/>
                    </a:lnTo>
                    <a:lnTo>
                      <a:pt x="57" y="65"/>
                    </a:lnTo>
                    <a:lnTo>
                      <a:pt x="57" y="64"/>
                    </a:lnTo>
                    <a:lnTo>
                      <a:pt x="59" y="62"/>
                    </a:lnTo>
                    <a:lnTo>
                      <a:pt x="59" y="60"/>
                    </a:lnTo>
                    <a:lnTo>
                      <a:pt x="57" y="59"/>
                    </a:lnTo>
                    <a:lnTo>
                      <a:pt x="57" y="57"/>
                    </a:lnTo>
                    <a:lnTo>
                      <a:pt x="55" y="57"/>
                    </a:lnTo>
                    <a:lnTo>
                      <a:pt x="54" y="55"/>
                    </a:lnTo>
                    <a:lnTo>
                      <a:pt x="39" y="49"/>
                    </a:lnTo>
                    <a:lnTo>
                      <a:pt x="40" y="49"/>
                    </a:lnTo>
                    <a:lnTo>
                      <a:pt x="29" y="41"/>
                    </a:lnTo>
                    <a:lnTo>
                      <a:pt x="32" y="47"/>
                    </a:lnTo>
                    <a:lnTo>
                      <a:pt x="32" y="34"/>
                    </a:lnTo>
                    <a:lnTo>
                      <a:pt x="30" y="33"/>
                    </a:lnTo>
                    <a:lnTo>
                      <a:pt x="30" y="31"/>
                    </a:lnTo>
                    <a:lnTo>
                      <a:pt x="24" y="20"/>
                    </a:lnTo>
                    <a:lnTo>
                      <a:pt x="19" y="11"/>
                    </a:lnTo>
                    <a:lnTo>
                      <a:pt x="19" y="1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12" y="26"/>
                    </a:lnTo>
                    <a:lnTo>
                      <a:pt x="19" y="38"/>
                    </a:lnTo>
                    <a:lnTo>
                      <a:pt x="19" y="34"/>
                    </a:lnTo>
                    <a:lnTo>
                      <a:pt x="19" y="49"/>
                    </a:lnTo>
                    <a:lnTo>
                      <a:pt x="20" y="51"/>
                    </a:lnTo>
                    <a:lnTo>
                      <a:pt x="20" y="52"/>
                    </a:lnTo>
                    <a:lnTo>
                      <a:pt x="32" y="60"/>
                    </a:lnTo>
                    <a:lnTo>
                      <a:pt x="34" y="60"/>
                    </a:lnTo>
                    <a:lnTo>
                      <a:pt x="49" y="6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Freeform 230">
                <a:extLst>
                  <a:ext uri="{FF2B5EF4-FFF2-40B4-BE49-F238E27FC236}">
                    <a16:creationId xmlns:a16="http://schemas.microsoft.com/office/drawing/2014/main" id="{54438639-4B52-4AF5-AC7E-2B6E603B0A4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66" y="1989"/>
                <a:ext cx="88" cy="19"/>
              </a:xfrm>
              <a:custGeom>
                <a:avLst/>
                <a:gdLst/>
                <a:ahLst/>
                <a:cxnLst>
                  <a:cxn ang="0">
                    <a:pos x="65" y="13"/>
                  </a:cxn>
                  <a:cxn ang="0">
                    <a:pos x="67" y="11"/>
                  </a:cxn>
                  <a:cxn ang="0">
                    <a:pos x="68" y="11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2" y="7"/>
                  </a:cxn>
                  <a:cxn ang="0">
                    <a:pos x="72" y="5"/>
                  </a:cxn>
                  <a:cxn ang="0">
                    <a:pos x="70" y="3"/>
                  </a:cxn>
                  <a:cxn ang="0">
                    <a:pos x="70" y="2"/>
                  </a:cxn>
                  <a:cxn ang="0">
                    <a:pos x="68" y="2"/>
                  </a:cxn>
                  <a:cxn ang="0">
                    <a:pos x="67" y="0"/>
                  </a:cxn>
                  <a:cxn ang="0">
                    <a:pos x="63" y="0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65" y="13"/>
                  </a:cxn>
                </a:cxnLst>
                <a:rect l="0" t="0" r="r" b="b"/>
                <a:pathLst>
                  <a:path w="72" h="16">
                    <a:moveTo>
                      <a:pt x="65" y="13"/>
                    </a:moveTo>
                    <a:lnTo>
                      <a:pt x="67" y="11"/>
                    </a:lnTo>
                    <a:lnTo>
                      <a:pt x="68" y="11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2" y="7"/>
                    </a:lnTo>
                    <a:lnTo>
                      <a:pt x="72" y="5"/>
                    </a:lnTo>
                    <a:lnTo>
                      <a:pt x="70" y="3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7" y="0"/>
                    </a:lnTo>
                    <a:lnTo>
                      <a:pt x="63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65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Freeform 231">
                <a:extLst>
                  <a:ext uri="{FF2B5EF4-FFF2-40B4-BE49-F238E27FC236}">
                    <a16:creationId xmlns:a16="http://schemas.microsoft.com/office/drawing/2014/main" id="{6AD25157-9CA8-453B-A94C-0A05F254CFE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43" y="1285"/>
                <a:ext cx="814" cy="559"/>
              </a:xfrm>
              <a:custGeom>
                <a:avLst/>
                <a:gdLst/>
                <a:ahLst/>
                <a:cxnLst>
                  <a:cxn ang="0">
                    <a:pos x="663" y="23"/>
                  </a:cxn>
                  <a:cxn ang="0">
                    <a:pos x="666" y="21"/>
                  </a:cxn>
                  <a:cxn ang="0">
                    <a:pos x="668" y="18"/>
                  </a:cxn>
                  <a:cxn ang="0">
                    <a:pos x="670" y="15"/>
                  </a:cxn>
                  <a:cxn ang="0">
                    <a:pos x="668" y="11"/>
                  </a:cxn>
                  <a:cxn ang="0">
                    <a:pos x="663" y="10"/>
                  </a:cxn>
                  <a:cxn ang="0">
                    <a:pos x="610" y="6"/>
                  </a:cxn>
                  <a:cxn ang="0">
                    <a:pos x="487" y="0"/>
                  </a:cxn>
                  <a:cxn ang="0">
                    <a:pos x="351" y="1"/>
                  </a:cxn>
                  <a:cxn ang="0">
                    <a:pos x="221" y="11"/>
                  </a:cxn>
                  <a:cxn ang="0">
                    <a:pos x="173" y="21"/>
                  </a:cxn>
                  <a:cxn ang="0">
                    <a:pos x="107" y="44"/>
                  </a:cxn>
                  <a:cxn ang="0">
                    <a:pos x="83" y="59"/>
                  </a:cxn>
                  <a:cxn ang="0">
                    <a:pos x="72" y="73"/>
                  </a:cxn>
                  <a:cxn ang="0">
                    <a:pos x="60" y="93"/>
                  </a:cxn>
                  <a:cxn ang="0">
                    <a:pos x="29" y="166"/>
                  </a:cxn>
                  <a:cxn ang="0">
                    <a:pos x="20" y="204"/>
                  </a:cxn>
                  <a:cxn ang="0">
                    <a:pos x="7" y="274"/>
                  </a:cxn>
                  <a:cxn ang="0">
                    <a:pos x="12" y="285"/>
                  </a:cxn>
                  <a:cxn ang="0">
                    <a:pos x="7" y="305"/>
                  </a:cxn>
                  <a:cxn ang="0">
                    <a:pos x="0" y="429"/>
                  </a:cxn>
                  <a:cxn ang="0">
                    <a:pos x="2" y="455"/>
                  </a:cxn>
                  <a:cxn ang="0">
                    <a:pos x="5" y="456"/>
                  </a:cxn>
                  <a:cxn ang="0">
                    <a:pos x="9" y="458"/>
                  </a:cxn>
                  <a:cxn ang="0">
                    <a:pos x="12" y="456"/>
                  </a:cxn>
                  <a:cxn ang="0">
                    <a:pos x="14" y="453"/>
                  </a:cxn>
                  <a:cxn ang="0">
                    <a:pos x="15" y="450"/>
                  </a:cxn>
                  <a:cxn ang="0">
                    <a:pos x="14" y="429"/>
                  </a:cxn>
                  <a:cxn ang="0">
                    <a:pos x="20" y="306"/>
                  </a:cxn>
                  <a:cxn ang="0">
                    <a:pos x="25" y="280"/>
                  </a:cxn>
                  <a:cxn ang="0">
                    <a:pos x="24" y="277"/>
                  </a:cxn>
                  <a:cxn ang="0">
                    <a:pos x="20" y="275"/>
                  </a:cxn>
                  <a:cxn ang="0">
                    <a:pos x="34" y="205"/>
                  </a:cxn>
                  <a:cxn ang="0">
                    <a:pos x="42" y="171"/>
                  </a:cxn>
                  <a:cxn ang="0">
                    <a:pos x="55" y="134"/>
                  </a:cxn>
                  <a:cxn ang="0">
                    <a:pos x="72" y="99"/>
                  </a:cxn>
                  <a:cxn ang="0">
                    <a:pos x="93" y="68"/>
                  </a:cxn>
                  <a:cxn ang="0">
                    <a:pos x="113" y="55"/>
                  </a:cxn>
                  <a:cxn ang="0">
                    <a:pos x="137" y="46"/>
                  </a:cxn>
                  <a:cxn ang="0">
                    <a:pos x="176" y="34"/>
                  </a:cxn>
                  <a:cxn ang="0">
                    <a:pos x="283" y="19"/>
                  </a:cxn>
                  <a:cxn ang="0">
                    <a:pos x="487" y="13"/>
                  </a:cxn>
                  <a:cxn ang="0">
                    <a:pos x="573" y="15"/>
                  </a:cxn>
                  <a:cxn ang="0">
                    <a:pos x="623" y="21"/>
                  </a:cxn>
                </a:cxnLst>
                <a:rect l="0" t="0" r="r" b="b"/>
                <a:pathLst>
                  <a:path w="670" h="458">
                    <a:moveTo>
                      <a:pt x="661" y="23"/>
                    </a:moveTo>
                    <a:lnTo>
                      <a:pt x="663" y="23"/>
                    </a:lnTo>
                    <a:lnTo>
                      <a:pt x="665" y="21"/>
                    </a:lnTo>
                    <a:lnTo>
                      <a:pt x="666" y="21"/>
                    </a:lnTo>
                    <a:lnTo>
                      <a:pt x="668" y="19"/>
                    </a:lnTo>
                    <a:lnTo>
                      <a:pt x="668" y="18"/>
                    </a:lnTo>
                    <a:lnTo>
                      <a:pt x="670" y="16"/>
                    </a:lnTo>
                    <a:lnTo>
                      <a:pt x="670" y="15"/>
                    </a:lnTo>
                    <a:lnTo>
                      <a:pt x="668" y="13"/>
                    </a:lnTo>
                    <a:lnTo>
                      <a:pt x="668" y="11"/>
                    </a:lnTo>
                    <a:lnTo>
                      <a:pt x="666" y="10"/>
                    </a:lnTo>
                    <a:lnTo>
                      <a:pt x="663" y="10"/>
                    </a:lnTo>
                    <a:lnTo>
                      <a:pt x="625" y="8"/>
                    </a:lnTo>
                    <a:lnTo>
                      <a:pt x="610" y="6"/>
                    </a:lnTo>
                    <a:lnTo>
                      <a:pt x="575" y="1"/>
                    </a:lnTo>
                    <a:lnTo>
                      <a:pt x="487" y="0"/>
                    </a:lnTo>
                    <a:lnTo>
                      <a:pt x="352" y="1"/>
                    </a:lnTo>
                    <a:lnTo>
                      <a:pt x="351" y="1"/>
                    </a:lnTo>
                    <a:lnTo>
                      <a:pt x="281" y="6"/>
                    </a:lnTo>
                    <a:lnTo>
                      <a:pt x="221" y="11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32" y="34"/>
                    </a:lnTo>
                    <a:lnTo>
                      <a:pt x="107" y="44"/>
                    </a:lnTo>
                    <a:lnTo>
                      <a:pt x="105" y="44"/>
                    </a:lnTo>
                    <a:lnTo>
                      <a:pt x="83" y="59"/>
                    </a:lnTo>
                    <a:lnTo>
                      <a:pt x="83" y="60"/>
                    </a:lnTo>
                    <a:lnTo>
                      <a:pt x="72" y="73"/>
                    </a:lnTo>
                    <a:lnTo>
                      <a:pt x="70" y="75"/>
                    </a:lnTo>
                    <a:lnTo>
                      <a:pt x="60" y="93"/>
                    </a:lnTo>
                    <a:lnTo>
                      <a:pt x="44" y="129"/>
                    </a:lnTo>
                    <a:lnTo>
                      <a:pt x="29" y="166"/>
                    </a:lnTo>
                    <a:lnTo>
                      <a:pt x="29" y="168"/>
                    </a:lnTo>
                    <a:lnTo>
                      <a:pt x="20" y="204"/>
                    </a:lnTo>
                    <a:lnTo>
                      <a:pt x="10" y="248"/>
                    </a:lnTo>
                    <a:lnTo>
                      <a:pt x="7" y="274"/>
                    </a:lnTo>
                    <a:lnTo>
                      <a:pt x="7" y="279"/>
                    </a:lnTo>
                    <a:lnTo>
                      <a:pt x="12" y="285"/>
                    </a:lnTo>
                    <a:lnTo>
                      <a:pt x="12" y="280"/>
                    </a:lnTo>
                    <a:lnTo>
                      <a:pt x="7" y="305"/>
                    </a:lnTo>
                    <a:lnTo>
                      <a:pt x="0" y="372"/>
                    </a:lnTo>
                    <a:lnTo>
                      <a:pt x="0" y="429"/>
                    </a:lnTo>
                    <a:lnTo>
                      <a:pt x="2" y="452"/>
                    </a:lnTo>
                    <a:lnTo>
                      <a:pt x="2" y="455"/>
                    </a:lnTo>
                    <a:lnTo>
                      <a:pt x="4" y="456"/>
                    </a:lnTo>
                    <a:lnTo>
                      <a:pt x="5" y="456"/>
                    </a:lnTo>
                    <a:lnTo>
                      <a:pt x="7" y="458"/>
                    </a:lnTo>
                    <a:lnTo>
                      <a:pt x="9" y="458"/>
                    </a:lnTo>
                    <a:lnTo>
                      <a:pt x="10" y="456"/>
                    </a:lnTo>
                    <a:lnTo>
                      <a:pt x="12" y="456"/>
                    </a:lnTo>
                    <a:lnTo>
                      <a:pt x="14" y="455"/>
                    </a:lnTo>
                    <a:lnTo>
                      <a:pt x="14" y="453"/>
                    </a:lnTo>
                    <a:lnTo>
                      <a:pt x="15" y="452"/>
                    </a:lnTo>
                    <a:lnTo>
                      <a:pt x="15" y="450"/>
                    </a:lnTo>
                    <a:lnTo>
                      <a:pt x="14" y="427"/>
                    </a:lnTo>
                    <a:lnTo>
                      <a:pt x="14" y="429"/>
                    </a:lnTo>
                    <a:lnTo>
                      <a:pt x="14" y="373"/>
                    </a:lnTo>
                    <a:lnTo>
                      <a:pt x="20" y="306"/>
                    </a:lnTo>
                    <a:lnTo>
                      <a:pt x="25" y="282"/>
                    </a:lnTo>
                    <a:lnTo>
                      <a:pt x="25" y="280"/>
                    </a:lnTo>
                    <a:lnTo>
                      <a:pt x="24" y="279"/>
                    </a:lnTo>
                    <a:lnTo>
                      <a:pt x="24" y="277"/>
                    </a:lnTo>
                    <a:lnTo>
                      <a:pt x="19" y="271"/>
                    </a:lnTo>
                    <a:lnTo>
                      <a:pt x="20" y="275"/>
                    </a:lnTo>
                    <a:lnTo>
                      <a:pt x="24" y="249"/>
                    </a:lnTo>
                    <a:lnTo>
                      <a:pt x="34" y="205"/>
                    </a:lnTo>
                    <a:lnTo>
                      <a:pt x="34" y="207"/>
                    </a:lnTo>
                    <a:lnTo>
                      <a:pt x="42" y="171"/>
                    </a:lnTo>
                    <a:lnTo>
                      <a:pt x="40" y="171"/>
                    </a:lnTo>
                    <a:lnTo>
                      <a:pt x="55" y="134"/>
                    </a:lnTo>
                    <a:lnTo>
                      <a:pt x="72" y="98"/>
                    </a:lnTo>
                    <a:lnTo>
                      <a:pt x="72" y="99"/>
                    </a:lnTo>
                    <a:lnTo>
                      <a:pt x="82" y="81"/>
                    </a:lnTo>
                    <a:lnTo>
                      <a:pt x="93" y="68"/>
                    </a:lnTo>
                    <a:lnTo>
                      <a:pt x="92" y="70"/>
                    </a:lnTo>
                    <a:lnTo>
                      <a:pt x="113" y="55"/>
                    </a:lnTo>
                    <a:lnTo>
                      <a:pt x="112" y="55"/>
                    </a:lnTo>
                    <a:lnTo>
                      <a:pt x="137" y="46"/>
                    </a:lnTo>
                    <a:lnTo>
                      <a:pt x="178" y="32"/>
                    </a:lnTo>
                    <a:lnTo>
                      <a:pt x="176" y="34"/>
                    </a:lnTo>
                    <a:lnTo>
                      <a:pt x="223" y="24"/>
                    </a:lnTo>
                    <a:lnTo>
                      <a:pt x="283" y="19"/>
                    </a:lnTo>
                    <a:lnTo>
                      <a:pt x="352" y="15"/>
                    </a:lnTo>
                    <a:lnTo>
                      <a:pt x="487" y="13"/>
                    </a:lnTo>
                    <a:lnTo>
                      <a:pt x="575" y="15"/>
                    </a:lnTo>
                    <a:lnTo>
                      <a:pt x="573" y="15"/>
                    </a:lnTo>
                    <a:lnTo>
                      <a:pt x="608" y="19"/>
                    </a:lnTo>
                    <a:lnTo>
                      <a:pt x="623" y="21"/>
                    </a:lnTo>
                    <a:lnTo>
                      <a:pt x="661" y="2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Freeform 232">
                <a:extLst>
                  <a:ext uri="{FF2B5EF4-FFF2-40B4-BE49-F238E27FC236}">
                    <a16:creationId xmlns:a16="http://schemas.microsoft.com/office/drawing/2014/main" id="{EA0E0AD7-3B74-4676-8076-927E313EBD9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94" y="1677"/>
                <a:ext cx="424" cy="32"/>
              </a:xfrm>
              <a:custGeom>
                <a:avLst/>
                <a:gdLst/>
                <a:ahLst/>
                <a:cxnLst>
                  <a:cxn ang="0">
                    <a:pos x="342" y="13"/>
                  </a:cxn>
                  <a:cxn ang="0">
                    <a:pos x="344" y="12"/>
                  </a:cxn>
                  <a:cxn ang="0">
                    <a:pos x="345" y="12"/>
                  </a:cxn>
                  <a:cxn ang="0">
                    <a:pos x="347" y="10"/>
                  </a:cxn>
                  <a:cxn ang="0">
                    <a:pos x="347" y="9"/>
                  </a:cxn>
                  <a:cxn ang="0">
                    <a:pos x="349" y="7"/>
                  </a:cxn>
                  <a:cxn ang="0">
                    <a:pos x="349" y="5"/>
                  </a:cxn>
                  <a:cxn ang="0">
                    <a:pos x="347" y="4"/>
                  </a:cxn>
                  <a:cxn ang="0">
                    <a:pos x="347" y="2"/>
                  </a:cxn>
                  <a:cxn ang="0">
                    <a:pos x="345" y="2"/>
                  </a:cxn>
                  <a:cxn ang="0">
                    <a:pos x="344" y="0"/>
                  </a:cxn>
                  <a:cxn ang="0">
                    <a:pos x="340" y="0"/>
                  </a:cxn>
                  <a:cxn ang="0">
                    <a:pos x="302" y="2"/>
                  </a:cxn>
                  <a:cxn ang="0">
                    <a:pos x="269" y="4"/>
                  </a:cxn>
                  <a:cxn ang="0">
                    <a:pos x="241" y="9"/>
                  </a:cxn>
                  <a:cxn ang="0">
                    <a:pos x="203" y="10"/>
                  </a:cxn>
                  <a:cxn ang="0">
                    <a:pos x="204" y="10"/>
                  </a:cxn>
                  <a:cxn ang="0">
                    <a:pos x="164" y="10"/>
                  </a:cxn>
                  <a:cxn ang="0">
                    <a:pos x="108" y="13"/>
                  </a:cxn>
                  <a:cxn ang="0">
                    <a:pos x="110" y="13"/>
                  </a:cxn>
                  <a:cxn ang="0">
                    <a:pos x="76" y="10"/>
                  </a:cxn>
                  <a:cxn ang="0">
                    <a:pos x="7" y="10"/>
                  </a:cxn>
                  <a:cxn ang="0">
                    <a:pos x="10" y="22"/>
                  </a:cxn>
                  <a:cxn ang="0">
                    <a:pos x="23" y="12"/>
                  </a:cxn>
                  <a:cxn ang="0">
                    <a:pos x="25" y="10"/>
                  </a:cxn>
                  <a:cxn ang="0">
                    <a:pos x="25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15" y="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2" y="20"/>
                  </a:cxn>
                  <a:cxn ang="0">
                    <a:pos x="3" y="22"/>
                  </a:cxn>
                  <a:cxn ang="0">
                    <a:pos x="5" y="22"/>
                  </a:cxn>
                  <a:cxn ang="0">
                    <a:pos x="7" y="23"/>
                  </a:cxn>
                  <a:cxn ang="0">
                    <a:pos x="76" y="23"/>
                  </a:cxn>
                  <a:cxn ang="0">
                    <a:pos x="75" y="23"/>
                  </a:cxn>
                  <a:cxn ang="0">
                    <a:pos x="108" y="26"/>
                  </a:cxn>
                  <a:cxn ang="0">
                    <a:pos x="110" y="26"/>
                  </a:cxn>
                  <a:cxn ang="0">
                    <a:pos x="166" y="23"/>
                  </a:cxn>
                  <a:cxn ang="0">
                    <a:pos x="204" y="23"/>
                  </a:cxn>
                  <a:cxn ang="0">
                    <a:pos x="242" y="22"/>
                  </a:cxn>
                  <a:cxn ang="0">
                    <a:pos x="271" y="17"/>
                  </a:cxn>
                  <a:cxn ang="0">
                    <a:pos x="304" y="15"/>
                  </a:cxn>
                  <a:cxn ang="0">
                    <a:pos x="342" y="13"/>
                  </a:cxn>
                </a:cxnLst>
                <a:rect l="0" t="0" r="r" b="b"/>
                <a:pathLst>
                  <a:path w="349" h="26">
                    <a:moveTo>
                      <a:pt x="342" y="13"/>
                    </a:moveTo>
                    <a:lnTo>
                      <a:pt x="344" y="12"/>
                    </a:lnTo>
                    <a:lnTo>
                      <a:pt x="345" y="12"/>
                    </a:lnTo>
                    <a:lnTo>
                      <a:pt x="347" y="10"/>
                    </a:lnTo>
                    <a:lnTo>
                      <a:pt x="347" y="9"/>
                    </a:lnTo>
                    <a:lnTo>
                      <a:pt x="349" y="7"/>
                    </a:lnTo>
                    <a:lnTo>
                      <a:pt x="349" y="5"/>
                    </a:lnTo>
                    <a:lnTo>
                      <a:pt x="347" y="4"/>
                    </a:lnTo>
                    <a:lnTo>
                      <a:pt x="347" y="2"/>
                    </a:lnTo>
                    <a:lnTo>
                      <a:pt x="345" y="2"/>
                    </a:lnTo>
                    <a:lnTo>
                      <a:pt x="344" y="0"/>
                    </a:lnTo>
                    <a:lnTo>
                      <a:pt x="340" y="0"/>
                    </a:lnTo>
                    <a:lnTo>
                      <a:pt x="302" y="2"/>
                    </a:lnTo>
                    <a:lnTo>
                      <a:pt x="269" y="4"/>
                    </a:lnTo>
                    <a:lnTo>
                      <a:pt x="241" y="9"/>
                    </a:lnTo>
                    <a:lnTo>
                      <a:pt x="203" y="10"/>
                    </a:lnTo>
                    <a:lnTo>
                      <a:pt x="204" y="10"/>
                    </a:lnTo>
                    <a:lnTo>
                      <a:pt x="164" y="10"/>
                    </a:lnTo>
                    <a:lnTo>
                      <a:pt x="108" y="13"/>
                    </a:lnTo>
                    <a:lnTo>
                      <a:pt x="110" y="13"/>
                    </a:lnTo>
                    <a:lnTo>
                      <a:pt x="76" y="10"/>
                    </a:lnTo>
                    <a:lnTo>
                      <a:pt x="7" y="10"/>
                    </a:lnTo>
                    <a:lnTo>
                      <a:pt x="10" y="22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15" y="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108" y="26"/>
                    </a:lnTo>
                    <a:lnTo>
                      <a:pt x="110" y="26"/>
                    </a:lnTo>
                    <a:lnTo>
                      <a:pt x="166" y="23"/>
                    </a:lnTo>
                    <a:lnTo>
                      <a:pt x="204" y="23"/>
                    </a:lnTo>
                    <a:lnTo>
                      <a:pt x="242" y="22"/>
                    </a:lnTo>
                    <a:lnTo>
                      <a:pt x="271" y="17"/>
                    </a:lnTo>
                    <a:lnTo>
                      <a:pt x="304" y="15"/>
                    </a:lnTo>
                    <a:lnTo>
                      <a:pt x="342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8" name="Freeform 233">
                <a:extLst>
                  <a:ext uri="{FF2B5EF4-FFF2-40B4-BE49-F238E27FC236}">
                    <a16:creationId xmlns:a16="http://schemas.microsoft.com/office/drawing/2014/main" id="{30F120FF-1121-47A7-A55D-827FA1977FB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7" y="1235"/>
                <a:ext cx="266" cy="258"/>
              </a:xfrm>
              <a:custGeom>
                <a:avLst/>
                <a:gdLst/>
                <a:ahLst/>
                <a:cxnLst>
                  <a:cxn ang="0">
                    <a:pos x="213" y="13"/>
                  </a:cxn>
                  <a:cxn ang="0">
                    <a:pos x="214" y="12"/>
                  </a:cxn>
                  <a:cxn ang="0">
                    <a:pos x="216" y="12"/>
                  </a:cxn>
                  <a:cxn ang="0">
                    <a:pos x="218" y="10"/>
                  </a:cxn>
                  <a:cxn ang="0">
                    <a:pos x="218" y="8"/>
                  </a:cxn>
                  <a:cxn ang="0">
                    <a:pos x="219" y="7"/>
                  </a:cxn>
                  <a:cxn ang="0">
                    <a:pos x="219" y="5"/>
                  </a:cxn>
                  <a:cxn ang="0">
                    <a:pos x="218" y="3"/>
                  </a:cxn>
                  <a:cxn ang="0">
                    <a:pos x="218" y="2"/>
                  </a:cxn>
                  <a:cxn ang="0">
                    <a:pos x="216" y="2"/>
                  </a:cxn>
                  <a:cxn ang="0">
                    <a:pos x="214" y="0"/>
                  </a:cxn>
                  <a:cxn ang="0">
                    <a:pos x="211" y="0"/>
                  </a:cxn>
                  <a:cxn ang="0">
                    <a:pos x="181" y="3"/>
                  </a:cxn>
                  <a:cxn ang="0">
                    <a:pos x="153" y="8"/>
                  </a:cxn>
                  <a:cxn ang="0">
                    <a:pos x="135" y="13"/>
                  </a:cxn>
                  <a:cxn ang="0">
                    <a:pos x="133" y="13"/>
                  </a:cxn>
                  <a:cxn ang="0">
                    <a:pos x="106" y="21"/>
                  </a:cxn>
                  <a:cxn ang="0">
                    <a:pos x="86" y="31"/>
                  </a:cxn>
                  <a:cxn ang="0">
                    <a:pos x="85" y="31"/>
                  </a:cxn>
                  <a:cxn ang="0">
                    <a:pos x="65" y="46"/>
                  </a:cxn>
                  <a:cxn ang="0">
                    <a:pos x="65" y="47"/>
                  </a:cxn>
                  <a:cxn ang="0">
                    <a:pos x="53" y="60"/>
                  </a:cxn>
                  <a:cxn ang="0">
                    <a:pos x="52" y="62"/>
                  </a:cxn>
                  <a:cxn ang="0">
                    <a:pos x="45" y="74"/>
                  </a:cxn>
                  <a:cxn ang="0">
                    <a:pos x="30" y="101"/>
                  </a:cxn>
                  <a:cxn ang="0">
                    <a:pos x="18" y="131"/>
                  </a:cxn>
                  <a:cxn ang="0">
                    <a:pos x="8" y="162"/>
                  </a:cxn>
                  <a:cxn ang="0">
                    <a:pos x="8" y="163"/>
                  </a:cxn>
                  <a:cxn ang="0">
                    <a:pos x="0" y="193"/>
                  </a:cxn>
                  <a:cxn ang="0">
                    <a:pos x="0" y="209"/>
                  </a:cxn>
                  <a:cxn ang="0">
                    <a:pos x="2" y="209"/>
                  </a:cxn>
                  <a:cxn ang="0">
                    <a:pos x="3" y="211"/>
                  </a:cxn>
                  <a:cxn ang="0">
                    <a:pos x="5" y="211"/>
                  </a:cxn>
                  <a:cxn ang="0">
                    <a:pos x="7" y="212"/>
                  </a:cxn>
                  <a:cxn ang="0">
                    <a:pos x="8" y="211"/>
                  </a:cxn>
                  <a:cxn ang="0">
                    <a:pos x="10" y="211"/>
                  </a:cxn>
                  <a:cxn ang="0">
                    <a:pos x="10" y="209"/>
                  </a:cxn>
                  <a:cxn ang="0">
                    <a:pos x="12" y="209"/>
                  </a:cxn>
                  <a:cxn ang="0">
                    <a:pos x="12" y="207"/>
                  </a:cxn>
                  <a:cxn ang="0">
                    <a:pos x="13" y="206"/>
                  </a:cxn>
                  <a:cxn ang="0">
                    <a:pos x="13" y="194"/>
                  </a:cxn>
                  <a:cxn ang="0">
                    <a:pos x="12" y="196"/>
                  </a:cxn>
                  <a:cxn ang="0">
                    <a:pos x="20" y="167"/>
                  </a:cxn>
                  <a:cxn ang="0">
                    <a:pos x="30" y="136"/>
                  </a:cxn>
                  <a:cxn ang="0">
                    <a:pos x="42" y="106"/>
                  </a:cxn>
                  <a:cxn ang="0">
                    <a:pos x="57" y="78"/>
                  </a:cxn>
                  <a:cxn ang="0">
                    <a:pos x="57" y="80"/>
                  </a:cxn>
                  <a:cxn ang="0">
                    <a:pos x="63" y="69"/>
                  </a:cxn>
                  <a:cxn ang="0">
                    <a:pos x="75" y="56"/>
                  </a:cxn>
                  <a:cxn ang="0">
                    <a:pos x="73" y="57"/>
                  </a:cxn>
                  <a:cxn ang="0">
                    <a:pos x="93" y="43"/>
                  </a:cxn>
                  <a:cxn ang="0">
                    <a:pos x="91" y="43"/>
                  </a:cxn>
                  <a:cxn ang="0">
                    <a:pos x="111" y="33"/>
                  </a:cxn>
                  <a:cxn ang="0">
                    <a:pos x="138" y="25"/>
                  </a:cxn>
                  <a:cxn ang="0">
                    <a:pos x="156" y="20"/>
                  </a:cxn>
                  <a:cxn ang="0">
                    <a:pos x="155" y="21"/>
                  </a:cxn>
                  <a:cxn ang="0">
                    <a:pos x="183" y="16"/>
                  </a:cxn>
                  <a:cxn ang="0">
                    <a:pos x="213" y="13"/>
                  </a:cxn>
                </a:cxnLst>
                <a:rect l="0" t="0" r="r" b="b"/>
                <a:pathLst>
                  <a:path w="219" h="212">
                    <a:moveTo>
                      <a:pt x="213" y="13"/>
                    </a:moveTo>
                    <a:lnTo>
                      <a:pt x="214" y="12"/>
                    </a:lnTo>
                    <a:lnTo>
                      <a:pt x="216" y="12"/>
                    </a:lnTo>
                    <a:lnTo>
                      <a:pt x="218" y="10"/>
                    </a:lnTo>
                    <a:lnTo>
                      <a:pt x="218" y="8"/>
                    </a:lnTo>
                    <a:lnTo>
                      <a:pt x="219" y="7"/>
                    </a:lnTo>
                    <a:lnTo>
                      <a:pt x="219" y="5"/>
                    </a:lnTo>
                    <a:lnTo>
                      <a:pt x="218" y="3"/>
                    </a:lnTo>
                    <a:lnTo>
                      <a:pt x="218" y="2"/>
                    </a:lnTo>
                    <a:lnTo>
                      <a:pt x="216" y="2"/>
                    </a:lnTo>
                    <a:lnTo>
                      <a:pt x="214" y="0"/>
                    </a:lnTo>
                    <a:lnTo>
                      <a:pt x="211" y="0"/>
                    </a:lnTo>
                    <a:lnTo>
                      <a:pt x="181" y="3"/>
                    </a:lnTo>
                    <a:lnTo>
                      <a:pt x="153" y="8"/>
                    </a:lnTo>
                    <a:lnTo>
                      <a:pt x="135" y="13"/>
                    </a:lnTo>
                    <a:lnTo>
                      <a:pt x="133" y="13"/>
                    </a:lnTo>
                    <a:lnTo>
                      <a:pt x="106" y="21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65" y="46"/>
                    </a:lnTo>
                    <a:lnTo>
                      <a:pt x="65" y="47"/>
                    </a:lnTo>
                    <a:lnTo>
                      <a:pt x="53" y="60"/>
                    </a:lnTo>
                    <a:lnTo>
                      <a:pt x="52" y="62"/>
                    </a:lnTo>
                    <a:lnTo>
                      <a:pt x="45" y="74"/>
                    </a:lnTo>
                    <a:lnTo>
                      <a:pt x="30" y="101"/>
                    </a:lnTo>
                    <a:lnTo>
                      <a:pt x="18" y="131"/>
                    </a:lnTo>
                    <a:lnTo>
                      <a:pt x="8" y="162"/>
                    </a:lnTo>
                    <a:lnTo>
                      <a:pt x="8" y="163"/>
                    </a:lnTo>
                    <a:lnTo>
                      <a:pt x="0" y="193"/>
                    </a:lnTo>
                    <a:lnTo>
                      <a:pt x="0" y="209"/>
                    </a:lnTo>
                    <a:lnTo>
                      <a:pt x="2" y="209"/>
                    </a:lnTo>
                    <a:lnTo>
                      <a:pt x="3" y="211"/>
                    </a:lnTo>
                    <a:lnTo>
                      <a:pt x="5" y="211"/>
                    </a:lnTo>
                    <a:lnTo>
                      <a:pt x="7" y="212"/>
                    </a:lnTo>
                    <a:lnTo>
                      <a:pt x="8" y="211"/>
                    </a:lnTo>
                    <a:lnTo>
                      <a:pt x="10" y="211"/>
                    </a:lnTo>
                    <a:lnTo>
                      <a:pt x="10" y="209"/>
                    </a:lnTo>
                    <a:lnTo>
                      <a:pt x="12" y="209"/>
                    </a:lnTo>
                    <a:lnTo>
                      <a:pt x="12" y="207"/>
                    </a:lnTo>
                    <a:lnTo>
                      <a:pt x="13" y="206"/>
                    </a:lnTo>
                    <a:lnTo>
                      <a:pt x="13" y="194"/>
                    </a:lnTo>
                    <a:lnTo>
                      <a:pt x="12" y="196"/>
                    </a:lnTo>
                    <a:lnTo>
                      <a:pt x="20" y="167"/>
                    </a:lnTo>
                    <a:lnTo>
                      <a:pt x="30" y="136"/>
                    </a:lnTo>
                    <a:lnTo>
                      <a:pt x="42" y="106"/>
                    </a:lnTo>
                    <a:lnTo>
                      <a:pt x="57" y="78"/>
                    </a:lnTo>
                    <a:lnTo>
                      <a:pt x="57" y="80"/>
                    </a:lnTo>
                    <a:lnTo>
                      <a:pt x="63" y="69"/>
                    </a:lnTo>
                    <a:lnTo>
                      <a:pt x="75" y="56"/>
                    </a:lnTo>
                    <a:lnTo>
                      <a:pt x="73" y="57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111" y="33"/>
                    </a:lnTo>
                    <a:lnTo>
                      <a:pt x="138" y="25"/>
                    </a:lnTo>
                    <a:lnTo>
                      <a:pt x="156" y="20"/>
                    </a:lnTo>
                    <a:lnTo>
                      <a:pt x="155" y="21"/>
                    </a:lnTo>
                    <a:lnTo>
                      <a:pt x="183" y="16"/>
                    </a:lnTo>
                    <a:lnTo>
                      <a:pt x="213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Freeform 234">
                <a:extLst>
                  <a:ext uri="{FF2B5EF4-FFF2-40B4-BE49-F238E27FC236}">
                    <a16:creationId xmlns:a16="http://schemas.microsoft.com/office/drawing/2014/main" id="{261E02B8-B3D9-4D5C-B27D-17690849BF2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34" y="1549"/>
                <a:ext cx="736" cy="197"/>
              </a:xfrm>
              <a:custGeom>
                <a:avLst/>
                <a:gdLst/>
                <a:ahLst/>
                <a:cxnLst>
                  <a:cxn ang="0">
                    <a:pos x="599" y="14"/>
                  </a:cxn>
                  <a:cxn ang="0">
                    <a:pos x="601" y="13"/>
                  </a:cxn>
                  <a:cxn ang="0">
                    <a:pos x="603" y="13"/>
                  </a:cxn>
                  <a:cxn ang="0">
                    <a:pos x="603" y="11"/>
                  </a:cxn>
                  <a:cxn ang="0">
                    <a:pos x="604" y="11"/>
                  </a:cxn>
                  <a:cxn ang="0">
                    <a:pos x="604" y="9"/>
                  </a:cxn>
                  <a:cxn ang="0">
                    <a:pos x="606" y="8"/>
                  </a:cxn>
                  <a:cxn ang="0">
                    <a:pos x="604" y="6"/>
                  </a:cxn>
                  <a:cxn ang="0">
                    <a:pos x="604" y="5"/>
                  </a:cxn>
                  <a:cxn ang="0">
                    <a:pos x="603" y="3"/>
                  </a:cxn>
                  <a:cxn ang="0">
                    <a:pos x="603" y="1"/>
                  </a:cxn>
                  <a:cxn ang="0">
                    <a:pos x="487" y="1"/>
                  </a:cxn>
                  <a:cxn ang="0">
                    <a:pos x="402" y="0"/>
                  </a:cxn>
                  <a:cxn ang="0">
                    <a:pos x="296" y="1"/>
                  </a:cxn>
                  <a:cxn ang="0">
                    <a:pos x="294" y="1"/>
                  </a:cxn>
                  <a:cxn ang="0">
                    <a:pos x="216" y="6"/>
                  </a:cxn>
                  <a:cxn ang="0">
                    <a:pos x="159" y="11"/>
                  </a:cxn>
                  <a:cxn ang="0">
                    <a:pos x="116" y="18"/>
                  </a:cxn>
                  <a:cxn ang="0">
                    <a:pos x="115" y="18"/>
                  </a:cxn>
                  <a:cxn ang="0">
                    <a:pos x="81" y="32"/>
                  </a:cxn>
                  <a:cxn ang="0">
                    <a:pos x="80" y="32"/>
                  </a:cxn>
                  <a:cxn ang="0">
                    <a:pos x="58" y="49"/>
                  </a:cxn>
                  <a:cxn ang="0">
                    <a:pos x="58" y="50"/>
                  </a:cxn>
                  <a:cxn ang="0">
                    <a:pos x="43" y="65"/>
                  </a:cxn>
                  <a:cxn ang="0">
                    <a:pos x="33" y="76"/>
                  </a:cxn>
                  <a:cxn ang="0">
                    <a:pos x="32" y="76"/>
                  </a:cxn>
                  <a:cxn ang="0">
                    <a:pos x="20" y="93"/>
                  </a:cxn>
                  <a:cxn ang="0">
                    <a:pos x="20" y="94"/>
                  </a:cxn>
                  <a:cxn ang="0">
                    <a:pos x="10" y="117"/>
                  </a:cxn>
                  <a:cxn ang="0">
                    <a:pos x="2" y="142"/>
                  </a:cxn>
                  <a:cxn ang="0">
                    <a:pos x="2" y="143"/>
                  </a:cxn>
                  <a:cxn ang="0">
                    <a:pos x="0" y="153"/>
                  </a:cxn>
                  <a:cxn ang="0">
                    <a:pos x="0" y="158"/>
                  </a:cxn>
                  <a:cxn ang="0">
                    <a:pos x="2" y="160"/>
                  </a:cxn>
                  <a:cxn ang="0">
                    <a:pos x="3" y="160"/>
                  </a:cxn>
                  <a:cxn ang="0">
                    <a:pos x="5" y="161"/>
                  </a:cxn>
                  <a:cxn ang="0">
                    <a:pos x="7" y="161"/>
                  </a:cxn>
                  <a:cxn ang="0">
                    <a:pos x="8" y="160"/>
                  </a:cxn>
                  <a:cxn ang="0">
                    <a:pos x="10" y="160"/>
                  </a:cxn>
                  <a:cxn ang="0">
                    <a:pos x="12" y="158"/>
                  </a:cxn>
                  <a:cxn ang="0">
                    <a:pos x="12" y="156"/>
                  </a:cxn>
                  <a:cxn ang="0">
                    <a:pos x="13" y="155"/>
                  </a:cxn>
                  <a:cxn ang="0">
                    <a:pos x="15" y="145"/>
                  </a:cxn>
                  <a:cxn ang="0">
                    <a:pos x="13" y="146"/>
                  </a:cxn>
                  <a:cxn ang="0">
                    <a:pos x="22" y="122"/>
                  </a:cxn>
                  <a:cxn ang="0">
                    <a:pos x="32" y="99"/>
                  </a:cxn>
                  <a:cxn ang="0">
                    <a:pos x="32" y="101"/>
                  </a:cxn>
                  <a:cxn ang="0">
                    <a:pos x="43" y="84"/>
                  </a:cxn>
                  <a:cxn ang="0">
                    <a:pos x="53" y="73"/>
                  </a:cxn>
                  <a:cxn ang="0">
                    <a:pos x="51" y="73"/>
                  </a:cxn>
                  <a:cxn ang="0">
                    <a:pos x="66" y="58"/>
                  </a:cxn>
                  <a:cxn ang="0">
                    <a:pos x="66" y="60"/>
                  </a:cxn>
                  <a:cxn ang="0">
                    <a:pos x="88" y="44"/>
                  </a:cxn>
                  <a:cxn ang="0">
                    <a:pos x="86" y="44"/>
                  </a:cxn>
                  <a:cxn ang="0">
                    <a:pos x="120" y="29"/>
                  </a:cxn>
                  <a:cxn ang="0">
                    <a:pos x="118" y="31"/>
                  </a:cxn>
                  <a:cxn ang="0">
                    <a:pos x="161" y="24"/>
                  </a:cxn>
                  <a:cxn ang="0">
                    <a:pos x="218" y="19"/>
                  </a:cxn>
                  <a:cxn ang="0">
                    <a:pos x="296" y="14"/>
                  </a:cxn>
                  <a:cxn ang="0">
                    <a:pos x="402" y="13"/>
                  </a:cxn>
                  <a:cxn ang="0">
                    <a:pos x="487" y="14"/>
                  </a:cxn>
                  <a:cxn ang="0">
                    <a:pos x="599" y="14"/>
                  </a:cxn>
                </a:cxnLst>
                <a:rect l="0" t="0" r="r" b="b"/>
                <a:pathLst>
                  <a:path w="606" h="161">
                    <a:moveTo>
                      <a:pt x="599" y="14"/>
                    </a:moveTo>
                    <a:lnTo>
                      <a:pt x="601" y="13"/>
                    </a:lnTo>
                    <a:lnTo>
                      <a:pt x="603" y="13"/>
                    </a:lnTo>
                    <a:lnTo>
                      <a:pt x="603" y="11"/>
                    </a:lnTo>
                    <a:lnTo>
                      <a:pt x="604" y="11"/>
                    </a:lnTo>
                    <a:lnTo>
                      <a:pt x="604" y="9"/>
                    </a:lnTo>
                    <a:lnTo>
                      <a:pt x="606" y="8"/>
                    </a:lnTo>
                    <a:lnTo>
                      <a:pt x="604" y="6"/>
                    </a:lnTo>
                    <a:lnTo>
                      <a:pt x="604" y="5"/>
                    </a:lnTo>
                    <a:lnTo>
                      <a:pt x="603" y="3"/>
                    </a:lnTo>
                    <a:lnTo>
                      <a:pt x="603" y="1"/>
                    </a:lnTo>
                    <a:lnTo>
                      <a:pt x="487" y="1"/>
                    </a:lnTo>
                    <a:lnTo>
                      <a:pt x="402" y="0"/>
                    </a:lnTo>
                    <a:lnTo>
                      <a:pt x="296" y="1"/>
                    </a:lnTo>
                    <a:lnTo>
                      <a:pt x="294" y="1"/>
                    </a:lnTo>
                    <a:lnTo>
                      <a:pt x="216" y="6"/>
                    </a:lnTo>
                    <a:lnTo>
                      <a:pt x="159" y="11"/>
                    </a:lnTo>
                    <a:lnTo>
                      <a:pt x="116" y="18"/>
                    </a:lnTo>
                    <a:lnTo>
                      <a:pt x="115" y="18"/>
                    </a:lnTo>
                    <a:lnTo>
                      <a:pt x="81" y="32"/>
                    </a:lnTo>
                    <a:lnTo>
                      <a:pt x="80" y="32"/>
                    </a:lnTo>
                    <a:lnTo>
                      <a:pt x="58" y="49"/>
                    </a:lnTo>
                    <a:lnTo>
                      <a:pt x="58" y="50"/>
                    </a:lnTo>
                    <a:lnTo>
                      <a:pt x="43" y="65"/>
                    </a:lnTo>
                    <a:lnTo>
                      <a:pt x="33" y="76"/>
                    </a:lnTo>
                    <a:lnTo>
                      <a:pt x="32" y="76"/>
                    </a:lnTo>
                    <a:lnTo>
                      <a:pt x="20" y="93"/>
                    </a:lnTo>
                    <a:lnTo>
                      <a:pt x="20" y="94"/>
                    </a:lnTo>
                    <a:lnTo>
                      <a:pt x="10" y="117"/>
                    </a:lnTo>
                    <a:lnTo>
                      <a:pt x="2" y="142"/>
                    </a:lnTo>
                    <a:lnTo>
                      <a:pt x="2" y="143"/>
                    </a:lnTo>
                    <a:lnTo>
                      <a:pt x="0" y="153"/>
                    </a:lnTo>
                    <a:lnTo>
                      <a:pt x="0" y="158"/>
                    </a:lnTo>
                    <a:lnTo>
                      <a:pt x="2" y="160"/>
                    </a:lnTo>
                    <a:lnTo>
                      <a:pt x="3" y="160"/>
                    </a:lnTo>
                    <a:lnTo>
                      <a:pt x="5" y="161"/>
                    </a:lnTo>
                    <a:lnTo>
                      <a:pt x="7" y="161"/>
                    </a:lnTo>
                    <a:lnTo>
                      <a:pt x="8" y="160"/>
                    </a:lnTo>
                    <a:lnTo>
                      <a:pt x="10" y="160"/>
                    </a:lnTo>
                    <a:lnTo>
                      <a:pt x="12" y="158"/>
                    </a:lnTo>
                    <a:lnTo>
                      <a:pt x="12" y="156"/>
                    </a:lnTo>
                    <a:lnTo>
                      <a:pt x="13" y="155"/>
                    </a:lnTo>
                    <a:lnTo>
                      <a:pt x="15" y="145"/>
                    </a:lnTo>
                    <a:lnTo>
                      <a:pt x="13" y="146"/>
                    </a:lnTo>
                    <a:lnTo>
                      <a:pt x="22" y="122"/>
                    </a:lnTo>
                    <a:lnTo>
                      <a:pt x="32" y="99"/>
                    </a:lnTo>
                    <a:lnTo>
                      <a:pt x="32" y="101"/>
                    </a:lnTo>
                    <a:lnTo>
                      <a:pt x="43" y="84"/>
                    </a:lnTo>
                    <a:lnTo>
                      <a:pt x="53" y="73"/>
                    </a:lnTo>
                    <a:lnTo>
                      <a:pt x="51" y="73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120" y="29"/>
                    </a:lnTo>
                    <a:lnTo>
                      <a:pt x="118" y="31"/>
                    </a:lnTo>
                    <a:lnTo>
                      <a:pt x="161" y="24"/>
                    </a:lnTo>
                    <a:lnTo>
                      <a:pt x="218" y="19"/>
                    </a:lnTo>
                    <a:lnTo>
                      <a:pt x="296" y="14"/>
                    </a:lnTo>
                    <a:lnTo>
                      <a:pt x="402" y="13"/>
                    </a:lnTo>
                    <a:lnTo>
                      <a:pt x="487" y="14"/>
                    </a:lnTo>
                    <a:lnTo>
                      <a:pt x="599" y="1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Freeform 235">
                <a:extLst>
                  <a:ext uri="{FF2B5EF4-FFF2-40B4-BE49-F238E27FC236}">
                    <a16:creationId xmlns:a16="http://schemas.microsoft.com/office/drawing/2014/main" id="{9FE49791-E55B-49F8-B8AC-FF5FD1002C8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52" y="1716"/>
                <a:ext cx="422" cy="32"/>
              </a:xfrm>
              <a:custGeom>
                <a:avLst/>
                <a:gdLst/>
                <a:ahLst/>
                <a:cxnLst>
                  <a:cxn ang="0">
                    <a:pos x="341" y="13"/>
                  </a:cxn>
                  <a:cxn ang="0">
                    <a:pos x="342" y="11"/>
                  </a:cxn>
                  <a:cxn ang="0">
                    <a:pos x="344" y="11"/>
                  </a:cxn>
                  <a:cxn ang="0">
                    <a:pos x="347" y="8"/>
                  </a:cxn>
                  <a:cxn ang="0">
                    <a:pos x="347" y="6"/>
                  </a:cxn>
                  <a:cxn ang="0">
                    <a:pos x="346" y="5"/>
                  </a:cxn>
                  <a:cxn ang="0">
                    <a:pos x="346" y="3"/>
                  </a:cxn>
                  <a:cxn ang="0">
                    <a:pos x="344" y="1"/>
                  </a:cxn>
                  <a:cxn ang="0">
                    <a:pos x="344" y="0"/>
                  </a:cxn>
                  <a:cxn ang="0">
                    <a:pos x="341" y="0"/>
                  </a:cxn>
                  <a:cxn ang="0">
                    <a:pos x="175" y="3"/>
                  </a:cxn>
                  <a:cxn ang="0">
                    <a:pos x="173" y="3"/>
                  </a:cxn>
                  <a:cxn ang="0">
                    <a:pos x="5" y="13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24"/>
                  </a:cxn>
                  <a:cxn ang="0">
                    <a:pos x="4" y="24"/>
                  </a:cxn>
                  <a:cxn ang="0">
                    <a:pos x="5" y="26"/>
                  </a:cxn>
                  <a:cxn ang="0">
                    <a:pos x="7" y="26"/>
                  </a:cxn>
                  <a:cxn ang="0">
                    <a:pos x="193" y="19"/>
                  </a:cxn>
                  <a:cxn ang="0">
                    <a:pos x="341" y="19"/>
                  </a:cxn>
                  <a:cxn ang="0">
                    <a:pos x="342" y="18"/>
                  </a:cxn>
                  <a:cxn ang="0">
                    <a:pos x="344" y="18"/>
                  </a:cxn>
                  <a:cxn ang="0">
                    <a:pos x="344" y="16"/>
                  </a:cxn>
                  <a:cxn ang="0">
                    <a:pos x="346" y="16"/>
                  </a:cxn>
                  <a:cxn ang="0">
                    <a:pos x="346" y="14"/>
                  </a:cxn>
                  <a:cxn ang="0">
                    <a:pos x="347" y="13"/>
                  </a:cxn>
                  <a:cxn ang="0">
                    <a:pos x="346" y="11"/>
                  </a:cxn>
                  <a:cxn ang="0">
                    <a:pos x="346" y="9"/>
                  </a:cxn>
                  <a:cxn ang="0">
                    <a:pos x="344" y="8"/>
                  </a:cxn>
                  <a:cxn ang="0">
                    <a:pos x="344" y="6"/>
                  </a:cxn>
                  <a:cxn ang="0">
                    <a:pos x="341" y="6"/>
                  </a:cxn>
                  <a:cxn ang="0">
                    <a:pos x="193" y="6"/>
                  </a:cxn>
                  <a:cxn ang="0">
                    <a:pos x="191" y="6"/>
                  </a:cxn>
                  <a:cxn ang="0">
                    <a:pos x="5" y="13"/>
                  </a:cxn>
                  <a:cxn ang="0">
                    <a:pos x="7" y="26"/>
                  </a:cxn>
                  <a:cxn ang="0">
                    <a:pos x="175" y="16"/>
                  </a:cxn>
                  <a:cxn ang="0">
                    <a:pos x="341" y="13"/>
                  </a:cxn>
                </a:cxnLst>
                <a:rect l="0" t="0" r="r" b="b"/>
                <a:pathLst>
                  <a:path w="347" h="26">
                    <a:moveTo>
                      <a:pt x="341" y="13"/>
                    </a:moveTo>
                    <a:lnTo>
                      <a:pt x="342" y="11"/>
                    </a:lnTo>
                    <a:lnTo>
                      <a:pt x="344" y="11"/>
                    </a:lnTo>
                    <a:lnTo>
                      <a:pt x="347" y="8"/>
                    </a:lnTo>
                    <a:lnTo>
                      <a:pt x="347" y="6"/>
                    </a:lnTo>
                    <a:lnTo>
                      <a:pt x="346" y="5"/>
                    </a:lnTo>
                    <a:lnTo>
                      <a:pt x="346" y="3"/>
                    </a:lnTo>
                    <a:lnTo>
                      <a:pt x="344" y="1"/>
                    </a:lnTo>
                    <a:lnTo>
                      <a:pt x="344" y="0"/>
                    </a:lnTo>
                    <a:lnTo>
                      <a:pt x="341" y="0"/>
                    </a:lnTo>
                    <a:lnTo>
                      <a:pt x="175" y="3"/>
                    </a:lnTo>
                    <a:lnTo>
                      <a:pt x="173" y="3"/>
                    </a:lnTo>
                    <a:lnTo>
                      <a:pt x="5" y="13"/>
                    </a:lnTo>
                    <a:lnTo>
                      <a:pt x="2" y="13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7" y="26"/>
                    </a:lnTo>
                    <a:lnTo>
                      <a:pt x="193" y="19"/>
                    </a:lnTo>
                    <a:lnTo>
                      <a:pt x="341" y="19"/>
                    </a:lnTo>
                    <a:lnTo>
                      <a:pt x="342" y="18"/>
                    </a:lnTo>
                    <a:lnTo>
                      <a:pt x="344" y="18"/>
                    </a:lnTo>
                    <a:lnTo>
                      <a:pt x="344" y="16"/>
                    </a:lnTo>
                    <a:lnTo>
                      <a:pt x="346" y="16"/>
                    </a:lnTo>
                    <a:lnTo>
                      <a:pt x="346" y="14"/>
                    </a:lnTo>
                    <a:lnTo>
                      <a:pt x="347" y="13"/>
                    </a:lnTo>
                    <a:lnTo>
                      <a:pt x="346" y="11"/>
                    </a:lnTo>
                    <a:lnTo>
                      <a:pt x="346" y="9"/>
                    </a:lnTo>
                    <a:lnTo>
                      <a:pt x="344" y="8"/>
                    </a:lnTo>
                    <a:lnTo>
                      <a:pt x="344" y="6"/>
                    </a:lnTo>
                    <a:lnTo>
                      <a:pt x="341" y="6"/>
                    </a:lnTo>
                    <a:lnTo>
                      <a:pt x="193" y="6"/>
                    </a:lnTo>
                    <a:lnTo>
                      <a:pt x="191" y="6"/>
                    </a:lnTo>
                    <a:lnTo>
                      <a:pt x="5" y="13"/>
                    </a:lnTo>
                    <a:lnTo>
                      <a:pt x="7" y="26"/>
                    </a:lnTo>
                    <a:lnTo>
                      <a:pt x="175" y="16"/>
                    </a:lnTo>
                    <a:lnTo>
                      <a:pt x="341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Freeform 236">
                <a:extLst>
                  <a:ext uri="{FF2B5EF4-FFF2-40B4-BE49-F238E27FC236}">
                    <a16:creationId xmlns:a16="http://schemas.microsoft.com/office/drawing/2014/main" id="{6C219423-B6C5-4A4F-AC18-CD8963E037A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57" y="1589"/>
                <a:ext cx="527" cy="41"/>
              </a:xfrm>
              <a:custGeom>
                <a:avLst/>
                <a:gdLst/>
                <a:ahLst/>
                <a:cxnLst>
                  <a:cxn ang="0">
                    <a:pos x="423" y="26"/>
                  </a:cxn>
                  <a:cxn ang="0">
                    <a:pos x="425" y="27"/>
                  </a:cxn>
                  <a:cxn ang="0">
                    <a:pos x="427" y="27"/>
                  </a:cxn>
                  <a:cxn ang="0">
                    <a:pos x="428" y="26"/>
                  </a:cxn>
                  <a:cxn ang="0">
                    <a:pos x="430" y="26"/>
                  </a:cxn>
                  <a:cxn ang="0">
                    <a:pos x="432" y="24"/>
                  </a:cxn>
                  <a:cxn ang="0">
                    <a:pos x="432" y="22"/>
                  </a:cxn>
                  <a:cxn ang="0">
                    <a:pos x="433" y="21"/>
                  </a:cxn>
                  <a:cxn ang="0">
                    <a:pos x="433" y="19"/>
                  </a:cxn>
                  <a:cxn ang="0">
                    <a:pos x="432" y="18"/>
                  </a:cxn>
                  <a:cxn ang="0">
                    <a:pos x="432" y="16"/>
                  </a:cxn>
                  <a:cxn ang="0">
                    <a:pos x="430" y="16"/>
                  </a:cxn>
                  <a:cxn ang="0">
                    <a:pos x="428" y="14"/>
                  </a:cxn>
                  <a:cxn ang="0">
                    <a:pos x="413" y="8"/>
                  </a:cxn>
                  <a:cxn ang="0">
                    <a:pos x="392" y="3"/>
                  </a:cxn>
                  <a:cxn ang="0">
                    <a:pos x="378" y="0"/>
                  </a:cxn>
                  <a:cxn ang="0">
                    <a:pos x="348" y="0"/>
                  </a:cxn>
                  <a:cxn ang="0">
                    <a:pos x="231" y="3"/>
                  </a:cxn>
                  <a:cxn ang="0">
                    <a:pos x="229" y="3"/>
                  </a:cxn>
                  <a:cxn ang="0">
                    <a:pos x="126" y="9"/>
                  </a:cxn>
                  <a:cxn ang="0">
                    <a:pos x="43" y="18"/>
                  </a:cxn>
                  <a:cxn ang="0">
                    <a:pos x="5" y="21"/>
                  </a:cxn>
                  <a:cxn ang="0">
                    <a:pos x="1" y="21"/>
                  </a:cxn>
                  <a:cxn ang="0">
                    <a:pos x="1" y="22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1" y="32"/>
                  </a:cxn>
                  <a:cxn ang="0">
                    <a:pos x="3" y="32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45" y="31"/>
                  </a:cxn>
                  <a:cxn ang="0">
                    <a:pos x="128" y="22"/>
                  </a:cxn>
                  <a:cxn ang="0">
                    <a:pos x="231" y="16"/>
                  </a:cxn>
                  <a:cxn ang="0">
                    <a:pos x="348" y="13"/>
                  </a:cxn>
                  <a:cxn ang="0">
                    <a:pos x="377" y="13"/>
                  </a:cxn>
                  <a:cxn ang="0">
                    <a:pos x="375" y="13"/>
                  </a:cxn>
                  <a:cxn ang="0">
                    <a:pos x="388" y="16"/>
                  </a:cxn>
                  <a:cxn ang="0">
                    <a:pos x="410" y="21"/>
                  </a:cxn>
                  <a:cxn ang="0">
                    <a:pos x="408" y="19"/>
                  </a:cxn>
                  <a:cxn ang="0">
                    <a:pos x="423" y="26"/>
                  </a:cxn>
                </a:cxnLst>
                <a:rect l="0" t="0" r="r" b="b"/>
                <a:pathLst>
                  <a:path w="433" h="34">
                    <a:moveTo>
                      <a:pt x="423" y="26"/>
                    </a:moveTo>
                    <a:lnTo>
                      <a:pt x="425" y="27"/>
                    </a:lnTo>
                    <a:lnTo>
                      <a:pt x="427" y="27"/>
                    </a:lnTo>
                    <a:lnTo>
                      <a:pt x="428" y="26"/>
                    </a:lnTo>
                    <a:lnTo>
                      <a:pt x="430" y="26"/>
                    </a:lnTo>
                    <a:lnTo>
                      <a:pt x="432" y="24"/>
                    </a:lnTo>
                    <a:lnTo>
                      <a:pt x="432" y="22"/>
                    </a:lnTo>
                    <a:lnTo>
                      <a:pt x="433" y="21"/>
                    </a:lnTo>
                    <a:lnTo>
                      <a:pt x="433" y="19"/>
                    </a:lnTo>
                    <a:lnTo>
                      <a:pt x="432" y="18"/>
                    </a:lnTo>
                    <a:lnTo>
                      <a:pt x="432" y="16"/>
                    </a:lnTo>
                    <a:lnTo>
                      <a:pt x="430" y="16"/>
                    </a:lnTo>
                    <a:lnTo>
                      <a:pt x="428" y="14"/>
                    </a:lnTo>
                    <a:lnTo>
                      <a:pt x="413" y="8"/>
                    </a:lnTo>
                    <a:lnTo>
                      <a:pt x="392" y="3"/>
                    </a:lnTo>
                    <a:lnTo>
                      <a:pt x="378" y="0"/>
                    </a:lnTo>
                    <a:lnTo>
                      <a:pt x="348" y="0"/>
                    </a:lnTo>
                    <a:lnTo>
                      <a:pt x="231" y="3"/>
                    </a:lnTo>
                    <a:lnTo>
                      <a:pt x="229" y="3"/>
                    </a:lnTo>
                    <a:lnTo>
                      <a:pt x="126" y="9"/>
                    </a:lnTo>
                    <a:lnTo>
                      <a:pt x="43" y="18"/>
                    </a:lnTo>
                    <a:lnTo>
                      <a:pt x="5" y="21"/>
                    </a:lnTo>
                    <a:lnTo>
                      <a:pt x="1" y="21"/>
                    </a:lnTo>
                    <a:lnTo>
                      <a:pt x="1" y="22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1" y="32"/>
                    </a:lnTo>
                    <a:lnTo>
                      <a:pt x="3" y="32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45" y="31"/>
                    </a:lnTo>
                    <a:lnTo>
                      <a:pt x="128" y="22"/>
                    </a:lnTo>
                    <a:lnTo>
                      <a:pt x="231" y="16"/>
                    </a:lnTo>
                    <a:lnTo>
                      <a:pt x="348" y="13"/>
                    </a:lnTo>
                    <a:lnTo>
                      <a:pt x="377" y="13"/>
                    </a:lnTo>
                    <a:lnTo>
                      <a:pt x="375" y="13"/>
                    </a:lnTo>
                    <a:lnTo>
                      <a:pt x="388" y="16"/>
                    </a:lnTo>
                    <a:lnTo>
                      <a:pt x="410" y="21"/>
                    </a:lnTo>
                    <a:lnTo>
                      <a:pt x="408" y="19"/>
                    </a:lnTo>
                    <a:lnTo>
                      <a:pt x="423" y="2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Freeform 237">
                <a:extLst>
                  <a:ext uri="{FF2B5EF4-FFF2-40B4-BE49-F238E27FC236}">
                    <a16:creationId xmlns:a16="http://schemas.microsoft.com/office/drawing/2014/main" id="{7BC5E803-1E31-4238-9722-6C7CCA20AC1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5" y="1309"/>
                <a:ext cx="74" cy="27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3" y="11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3" y="22"/>
                  </a:cxn>
                  <a:cxn ang="0">
                    <a:pos x="33" y="22"/>
                  </a:cxn>
                  <a:cxn ang="0">
                    <a:pos x="55" y="21"/>
                  </a:cxn>
                  <a:cxn ang="0">
                    <a:pos x="56" y="19"/>
                  </a:cxn>
                  <a:cxn ang="0">
                    <a:pos x="58" y="19"/>
                  </a:cxn>
                  <a:cxn ang="0">
                    <a:pos x="60" y="18"/>
                  </a:cxn>
                  <a:cxn ang="0">
                    <a:pos x="60" y="16"/>
                  </a:cxn>
                  <a:cxn ang="0">
                    <a:pos x="61" y="14"/>
                  </a:cxn>
                  <a:cxn ang="0">
                    <a:pos x="61" y="13"/>
                  </a:cxn>
                  <a:cxn ang="0">
                    <a:pos x="60" y="11"/>
                  </a:cxn>
                  <a:cxn ang="0">
                    <a:pos x="60" y="9"/>
                  </a:cxn>
                  <a:cxn ang="0">
                    <a:pos x="58" y="9"/>
                  </a:cxn>
                  <a:cxn ang="0">
                    <a:pos x="56" y="8"/>
                  </a:cxn>
                  <a:cxn ang="0">
                    <a:pos x="53" y="8"/>
                  </a:cxn>
                  <a:cxn ang="0">
                    <a:pos x="32" y="9"/>
                  </a:cxn>
                  <a:cxn ang="0">
                    <a:pos x="33" y="9"/>
                  </a:cxn>
                  <a:cxn ang="0">
                    <a:pos x="23" y="9"/>
                  </a:cxn>
                  <a:cxn ang="0">
                    <a:pos x="27" y="9"/>
                  </a:cxn>
                  <a:cxn ang="0">
                    <a:pos x="10" y="0"/>
                  </a:cxn>
                </a:cxnLst>
                <a:rect l="0" t="0" r="r" b="b"/>
                <a:pathLst>
                  <a:path w="61" h="2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3" y="11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3" y="22"/>
                    </a:lnTo>
                    <a:lnTo>
                      <a:pt x="33" y="22"/>
                    </a:lnTo>
                    <a:lnTo>
                      <a:pt x="55" y="21"/>
                    </a:lnTo>
                    <a:lnTo>
                      <a:pt x="56" y="19"/>
                    </a:lnTo>
                    <a:lnTo>
                      <a:pt x="58" y="19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0" y="9"/>
                    </a:lnTo>
                    <a:lnTo>
                      <a:pt x="58" y="9"/>
                    </a:lnTo>
                    <a:lnTo>
                      <a:pt x="56" y="8"/>
                    </a:lnTo>
                    <a:lnTo>
                      <a:pt x="53" y="8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Freeform 238">
                <a:extLst>
                  <a:ext uri="{FF2B5EF4-FFF2-40B4-BE49-F238E27FC236}">
                    <a16:creationId xmlns:a16="http://schemas.microsoft.com/office/drawing/2014/main" id="{DFE06330-EEE9-4CFA-80B7-B934CDDC227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4" y="1183"/>
                <a:ext cx="212" cy="284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140" y="10"/>
                  </a:cxn>
                  <a:cxn ang="0">
                    <a:pos x="143" y="12"/>
                  </a:cxn>
                  <a:cxn ang="0">
                    <a:pos x="158" y="17"/>
                  </a:cxn>
                  <a:cxn ang="0">
                    <a:pos x="165" y="18"/>
                  </a:cxn>
                  <a:cxn ang="0">
                    <a:pos x="161" y="18"/>
                  </a:cxn>
                  <a:cxn ang="0">
                    <a:pos x="150" y="25"/>
                  </a:cxn>
                  <a:cxn ang="0">
                    <a:pos x="128" y="39"/>
                  </a:cxn>
                  <a:cxn ang="0">
                    <a:pos x="106" y="64"/>
                  </a:cxn>
                  <a:cxn ang="0">
                    <a:pos x="87" y="87"/>
                  </a:cxn>
                  <a:cxn ang="0">
                    <a:pos x="72" y="111"/>
                  </a:cxn>
                  <a:cxn ang="0">
                    <a:pos x="45" y="158"/>
                  </a:cxn>
                  <a:cxn ang="0">
                    <a:pos x="37" y="167"/>
                  </a:cxn>
                  <a:cxn ang="0">
                    <a:pos x="23" y="175"/>
                  </a:cxn>
                  <a:cxn ang="0">
                    <a:pos x="7" y="188"/>
                  </a:cxn>
                  <a:cxn ang="0">
                    <a:pos x="3" y="206"/>
                  </a:cxn>
                  <a:cxn ang="0">
                    <a:pos x="0" y="230"/>
                  </a:cxn>
                  <a:cxn ang="0">
                    <a:pos x="3" y="232"/>
                  </a:cxn>
                  <a:cxn ang="0">
                    <a:pos x="7" y="233"/>
                  </a:cxn>
                  <a:cxn ang="0">
                    <a:pos x="10" y="232"/>
                  </a:cxn>
                  <a:cxn ang="0">
                    <a:pos x="12" y="229"/>
                  </a:cxn>
                  <a:cxn ang="0">
                    <a:pos x="17" y="207"/>
                  </a:cxn>
                  <a:cxn ang="0">
                    <a:pos x="17" y="198"/>
                  </a:cxn>
                  <a:cxn ang="0">
                    <a:pos x="45" y="176"/>
                  </a:cxn>
                  <a:cxn ang="0">
                    <a:pos x="55" y="165"/>
                  </a:cxn>
                  <a:cxn ang="0">
                    <a:pos x="57" y="163"/>
                  </a:cxn>
                  <a:cxn ang="0">
                    <a:pos x="63" y="150"/>
                  </a:cxn>
                  <a:cxn ang="0">
                    <a:pos x="98" y="95"/>
                  </a:cxn>
                  <a:cxn ang="0">
                    <a:pos x="138" y="49"/>
                  </a:cxn>
                  <a:cxn ang="0">
                    <a:pos x="158" y="34"/>
                  </a:cxn>
                  <a:cxn ang="0">
                    <a:pos x="171" y="21"/>
                  </a:cxn>
                  <a:cxn ang="0">
                    <a:pos x="173" y="20"/>
                  </a:cxn>
                  <a:cxn ang="0">
                    <a:pos x="175" y="12"/>
                  </a:cxn>
                  <a:cxn ang="0">
                    <a:pos x="173" y="8"/>
                  </a:cxn>
                  <a:cxn ang="0">
                    <a:pos x="170" y="7"/>
                  </a:cxn>
                  <a:cxn ang="0">
                    <a:pos x="148" y="0"/>
                  </a:cxn>
                </a:cxnLst>
                <a:rect l="0" t="0" r="r" b="b"/>
                <a:pathLst>
                  <a:path w="175" h="233">
                    <a:moveTo>
                      <a:pt x="148" y="0"/>
                    </a:moveTo>
                    <a:lnTo>
                      <a:pt x="143" y="0"/>
                    </a:lnTo>
                    <a:lnTo>
                      <a:pt x="140" y="3"/>
                    </a:lnTo>
                    <a:lnTo>
                      <a:pt x="140" y="10"/>
                    </a:lnTo>
                    <a:lnTo>
                      <a:pt x="141" y="12"/>
                    </a:lnTo>
                    <a:lnTo>
                      <a:pt x="143" y="12"/>
                    </a:lnTo>
                    <a:lnTo>
                      <a:pt x="145" y="13"/>
                    </a:lnTo>
                    <a:lnTo>
                      <a:pt x="158" y="17"/>
                    </a:lnTo>
                    <a:lnTo>
                      <a:pt x="156" y="15"/>
                    </a:lnTo>
                    <a:lnTo>
                      <a:pt x="165" y="18"/>
                    </a:lnTo>
                    <a:lnTo>
                      <a:pt x="161" y="13"/>
                    </a:lnTo>
                    <a:lnTo>
                      <a:pt x="161" y="18"/>
                    </a:lnTo>
                    <a:lnTo>
                      <a:pt x="163" y="13"/>
                    </a:lnTo>
                    <a:lnTo>
                      <a:pt x="150" y="25"/>
                    </a:lnTo>
                    <a:lnTo>
                      <a:pt x="150" y="23"/>
                    </a:lnTo>
                    <a:lnTo>
                      <a:pt x="128" y="39"/>
                    </a:lnTo>
                    <a:lnTo>
                      <a:pt x="128" y="41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87" y="87"/>
                    </a:lnTo>
                    <a:lnTo>
                      <a:pt x="72" y="109"/>
                    </a:lnTo>
                    <a:lnTo>
                      <a:pt x="72" y="111"/>
                    </a:lnTo>
                    <a:lnTo>
                      <a:pt x="52" y="144"/>
                    </a:lnTo>
                    <a:lnTo>
                      <a:pt x="45" y="158"/>
                    </a:lnTo>
                    <a:lnTo>
                      <a:pt x="47" y="157"/>
                    </a:lnTo>
                    <a:lnTo>
                      <a:pt x="37" y="167"/>
                    </a:lnTo>
                    <a:lnTo>
                      <a:pt x="37" y="165"/>
                    </a:lnTo>
                    <a:lnTo>
                      <a:pt x="23" y="175"/>
                    </a:lnTo>
                    <a:lnTo>
                      <a:pt x="8" y="186"/>
                    </a:lnTo>
                    <a:lnTo>
                      <a:pt x="7" y="188"/>
                    </a:lnTo>
                    <a:lnTo>
                      <a:pt x="7" y="191"/>
                    </a:lnTo>
                    <a:lnTo>
                      <a:pt x="3" y="206"/>
                    </a:lnTo>
                    <a:lnTo>
                      <a:pt x="0" y="225"/>
                    </a:lnTo>
                    <a:lnTo>
                      <a:pt x="0" y="230"/>
                    </a:lnTo>
                    <a:lnTo>
                      <a:pt x="2" y="232"/>
                    </a:lnTo>
                    <a:lnTo>
                      <a:pt x="3" y="232"/>
                    </a:lnTo>
                    <a:lnTo>
                      <a:pt x="5" y="233"/>
                    </a:lnTo>
                    <a:lnTo>
                      <a:pt x="7" y="233"/>
                    </a:lnTo>
                    <a:lnTo>
                      <a:pt x="8" y="232"/>
                    </a:lnTo>
                    <a:lnTo>
                      <a:pt x="10" y="232"/>
                    </a:lnTo>
                    <a:lnTo>
                      <a:pt x="12" y="230"/>
                    </a:lnTo>
                    <a:lnTo>
                      <a:pt x="12" y="229"/>
                    </a:lnTo>
                    <a:lnTo>
                      <a:pt x="13" y="227"/>
                    </a:lnTo>
                    <a:lnTo>
                      <a:pt x="17" y="207"/>
                    </a:lnTo>
                    <a:lnTo>
                      <a:pt x="20" y="193"/>
                    </a:lnTo>
                    <a:lnTo>
                      <a:pt x="17" y="198"/>
                    </a:lnTo>
                    <a:lnTo>
                      <a:pt x="32" y="186"/>
                    </a:lnTo>
                    <a:lnTo>
                      <a:pt x="45" y="176"/>
                    </a:lnTo>
                    <a:lnTo>
                      <a:pt x="45" y="175"/>
                    </a:lnTo>
                    <a:lnTo>
                      <a:pt x="55" y="165"/>
                    </a:lnTo>
                    <a:lnTo>
                      <a:pt x="57" y="165"/>
                    </a:lnTo>
                    <a:lnTo>
                      <a:pt x="57" y="163"/>
                    </a:lnTo>
                    <a:lnTo>
                      <a:pt x="63" y="149"/>
                    </a:lnTo>
                    <a:lnTo>
                      <a:pt x="63" y="150"/>
                    </a:lnTo>
                    <a:lnTo>
                      <a:pt x="83" y="118"/>
                    </a:lnTo>
                    <a:lnTo>
                      <a:pt x="98" y="95"/>
                    </a:lnTo>
                    <a:lnTo>
                      <a:pt x="116" y="72"/>
                    </a:lnTo>
                    <a:lnTo>
                      <a:pt x="138" y="49"/>
                    </a:lnTo>
                    <a:lnTo>
                      <a:pt x="136" y="51"/>
                    </a:lnTo>
                    <a:lnTo>
                      <a:pt x="158" y="34"/>
                    </a:lnTo>
                    <a:lnTo>
                      <a:pt x="171" y="23"/>
                    </a:lnTo>
                    <a:lnTo>
                      <a:pt x="171" y="21"/>
                    </a:lnTo>
                    <a:lnTo>
                      <a:pt x="173" y="21"/>
                    </a:lnTo>
                    <a:lnTo>
                      <a:pt x="173" y="20"/>
                    </a:lnTo>
                    <a:lnTo>
                      <a:pt x="175" y="18"/>
                    </a:lnTo>
                    <a:lnTo>
                      <a:pt x="175" y="12"/>
                    </a:lnTo>
                    <a:lnTo>
                      <a:pt x="173" y="10"/>
                    </a:lnTo>
                    <a:lnTo>
                      <a:pt x="173" y="8"/>
                    </a:lnTo>
                    <a:lnTo>
                      <a:pt x="171" y="7"/>
                    </a:lnTo>
                    <a:lnTo>
                      <a:pt x="170" y="7"/>
                    </a:lnTo>
                    <a:lnTo>
                      <a:pt x="161" y="3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4" name="Freeform 239">
                <a:extLst>
                  <a:ext uri="{FF2B5EF4-FFF2-40B4-BE49-F238E27FC236}">
                    <a16:creationId xmlns:a16="http://schemas.microsoft.com/office/drawing/2014/main" id="{B4A63FC0-BA66-4B27-B20D-F92E864216E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69" y="1256"/>
                <a:ext cx="21" cy="44"/>
              </a:xfrm>
              <a:custGeom>
                <a:avLst/>
                <a:gdLst/>
                <a:ahLst/>
                <a:cxnLst>
                  <a:cxn ang="0">
                    <a:pos x="17" y="6"/>
                  </a:cxn>
                  <a:cxn ang="0">
                    <a:pos x="17" y="5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3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5"/>
                  </a:cxn>
                  <a:cxn ang="0">
                    <a:pos x="0" y="27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10" y="34"/>
                  </a:cxn>
                  <a:cxn ang="0">
                    <a:pos x="12" y="32"/>
                  </a:cxn>
                  <a:cxn ang="0">
                    <a:pos x="12" y="31"/>
                  </a:cxn>
                  <a:cxn ang="0">
                    <a:pos x="13" y="29"/>
                  </a:cxn>
                  <a:cxn ang="0">
                    <a:pos x="17" y="6"/>
                  </a:cxn>
                </a:cxnLst>
                <a:rect l="0" t="0" r="r" b="b"/>
                <a:pathLst>
                  <a:path w="17" h="36">
                    <a:moveTo>
                      <a:pt x="17" y="6"/>
                    </a:moveTo>
                    <a:lnTo>
                      <a:pt x="17" y="5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5"/>
                    </a:lnTo>
                    <a:lnTo>
                      <a:pt x="0" y="27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2" y="31"/>
                    </a:lnTo>
                    <a:lnTo>
                      <a:pt x="13" y="29"/>
                    </a:lnTo>
                    <a:lnTo>
                      <a:pt x="17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Freeform 240">
                <a:extLst>
                  <a:ext uri="{FF2B5EF4-FFF2-40B4-BE49-F238E27FC236}">
                    <a16:creationId xmlns:a16="http://schemas.microsoft.com/office/drawing/2014/main" id="{FB63E9A6-AFF8-4F2E-94CF-D9CEF512988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87" y="1595"/>
                <a:ext cx="207" cy="470"/>
              </a:xfrm>
              <a:custGeom>
                <a:avLst/>
                <a:gdLst/>
                <a:ahLst/>
                <a:cxnLst>
                  <a:cxn ang="0">
                    <a:pos x="163" y="15"/>
                  </a:cxn>
                  <a:cxn ang="0">
                    <a:pos x="164" y="15"/>
                  </a:cxn>
                  <a:cxn ang="0">
                    <a:pos x="166" y="13"/>
                  </a:cxn>
                  <a:cxn ang="0">
                    <a:pos x="168" y="13"/>
                  </a:cxn>
                  <a:cxn ang="0">
                    <a:pos x="169" y="11"/>
                  </a:cxn>
                  <a:cxn ang="0">
                    <a:pos x="169" y="10"/>
                  </a:cxn>
                  <a:cxn ang="0">
                    <a:pos x="171" y="8"/>
                  </a:cxn>
                  <a:cxn ang="0">
                    <a:pos x="171" y="7"/>
                  </a:cxn>
                  <a:cxn ang="0">
                    <a:pos x="169" y="5"/>
                  </a:cxn>
                  <a:cxn ang="0">
                    <a:pos x="169" y="3"/>
                  </a:cxn>
                  <a:cxn ang="0">
                    <a:pos x="168" y="2"/>
                  </a:cxn>
                  <a:cxn ang="0">
                    <a:pos x="164" y="2"/>
                  </a:cxn>
                  <a:cxn ang="0">
                    <a:pos x="141" y="0"/>
                  </a:cxn>
                  <a:cxn ang="0">
                    <a:pos x="139" y="0"/>
                  </a:cxn>
                  <a:cxn ang="0">
                    <a:pos x="113" y="3"/>
                  </a:cxn>
                  <a:cxn ang="0">
                    <a:pos x="111" y="3"/>
                  </a:cxn>
                  <a:cxn ang="0">
                    <a:pos x="88" y="16"/>
                  </a:cxn>
                  <a:cxn ang="0">
                    <a:pos x="75" y="29"/>
                  </a:cxn>
                  <a:cxn ang="0">
                    <a:pos x="73" y="29"/>
                  </a:cxn>
                  <a:cxn ang="0">
                    <a:pos x="58" y="52"/>
                  </a:cxn>
                  <a:cxn ang="0">
                    <a:pos x="58" y="54"/>
                  </a:cxn>
                  <a:cxn ang="0">
                    <a:pos x="43" y="83"/>
                  </a:cxn>
                  <a:cxn ang="0">
                    <a:pos x="30" y="114"/>
                  </a:cxn>
                  <a:cxn ang="0">
                    <a:pos x="30" y="116"/>
                  </a:cxn>
                  <a:cxn ang="0">
                    <a:pos x="22" y="150"/>
                  </a:cxn>
                  <a:cxn ang="0">
                    <a:pos x="13" y="183"/>
                  </a:cxn>
                  <a:cxn ang="0">
                    <a:pos x="5" y="230"/>
                  </a:cxn>
                  <a:cxn ang="0">
                    <a:pos x="2" y="274"/>
                  </a:cxn>
                  <a:cxn ang="0">
                    <a:pos x="2" y="276"/>
                  </a:cxn>
                  <a:cxn ang="0">
                    <a:pos x="0" y="329"/>
                  </a:cxn>
                  <a:cxn ang="0">
                    <a:pos x="0" y="382"/>
                  </a:cxn>
                  <a:cxn ang="0">
                    <a:pos x="2" y="382"/>
                  </a:cxn>
                  <a:cxn ang="0">
                    <a:pos x="3" y="383"/>
                  </a:cxn>
                  <a:cxn ang="0">
                    <a:pos x="5" y="383"/>
                  </a:cxn>
                  <a:cxn ang="0">
                    <a:pos x="7" y="385"/>
                  </a:cxn>
                  <a:cxn ang="0">
                    <a:pos x="8" y="383"/>
                  </a:cxn>
                  <a:cxn ang="0">
                    <a:pos x="10" y="383"/>
                  </a:cxn>
                  <a:cxn ang="0">
                    <a:pos x="10" y="382"/>
                  </a:cxn>
                  <a:cxn ang="0">
                    <a:pos x="12" y="382"/>
                  </a:cxn>
                  <a:cxn ang="0">
                    <a:pos x="12" y="380"/>
                  </a:cxn>
                  <a:cxn ang="0">
                    <a:pos x="13" y="378"/>
                  </a:cxn>
                  <a:cxn ang="0">
                    <a:pos x="13" y="329"/>
                  </a:cxn>
                  <a:cxn ang="0">
                    <a:pos x="15" y="276"/>
                  </a:cxn>
                  <a:cxn ang="0">
                    <a:pos x="18" y="232"/>
                  </a:cxn>
                  <a:cxn ang="0">
                    <a:pos x="27" y="184"/>
                  </a:cxn>
                  <a:cxn ang="0">
                    <a:pos x="27" y="186"/>
                  </a:cxn>
                  <a:cxn ang="0">
                    <a:pos x="35" y="153"/>
                  </a:cxn>
                  <a:cxn ang="0">
                    <a:pos x="43" y="119"/>
                  </a:cxn>
                  <a:cxn ang="0">
                    <a:pos x="41" y="119"/>
                  </a:cxn>
                  <a:cxn ang="0">
                    <a:pos x="55" y="88"/>
                  </a:cxn>
                  <a:cxn ang="0">
                    <a:pos x="70" y="59"/>
                  </a:cxn>
                  <a:cxn ang="0">
                    <a:pos x="70" y="60"/>
                  </a:cxn>
                  <a:cxn ang="0">
                    <a:pos x="85" y="38"/>
                  </a:cxn>
                  <a:cxn ang="0">
                    <a:pos x="83" y="38"/>
                  </a:cxn>
                  <a:cxn ang="0">
                    <a:pos x="95" y="26"/>
                  </a:cxn>
                  <a:cxn ang="0">
                    <a:pos x="95" y="28"/>
                  </a:cxn>
                  <a:cxn ang="0">
                    <a:pos x="118" y="15"/>
                  </a:cxn>
                  <a:cxn ang="0">
                    <a:pos x="115" y="16"/>
                  </a:cxn>
                  <a:cxn ang="0">
                    <a:pos x="141" y="13"/>
                  </a:cxn>
                  <a:cxn ang="0">
                    <a:pos x="139" y="13"/>
                  </a:cxn>
                  <a:cxn ang="0">
                    <a:pos x="163" y="15"/>
                  </a:cxn>
                </a:cxnLst>
                <a:rect l="0" t="0" r="r" b="b"/>
                <a:pathLst>
                  <a:path w="171" h="385">
                    <a:moveTo>
                      <a:pt x="163" y="15"/>
                    </a:moveTo>
                    <a:lnTo>
                      <a:pt x="164" y="15"/>
                    </a:lnTo>
                    <a:lnTo>
                      <a:pt x="166" y="13"/>
                    </a:lnTo>
                    <a:lnTo>
                      <a:pt x="168" y="13"/>
                    </a:lnTo>
                    <a:lnTo>
                      <a:pt x="169" y="11"/>
                    </a:lnTo>
                    <a:lnTo>
                      <a:pt x="169" y="10"/>
                    </a:lnTo>
                    <a:lnTo>
                      <a:pt x="171" y="8"/>
                    </a:lnTo>
                    <a:lnTo>
                      <a:pt x="171" y="7"/>
                    </a:lnTo>
                    <a:lnTo>
                      <a:pt x="169" y="5"/>
                    </a:lnTo>
                    <a:lnTo>
                      <a:pt x="169" y="3"/>
                    </a:lnTo>
                    <a:lnTo>
                      <a:pt x="168" y="2"/>
                    </a:lnTo>
                    <a:lnTo>
                      <a:pt x="164" y="2"/>
                    </a:lnTo>
                    <a:lnTo>
                      <a:pt x="141" y="0"/>
                    </a:lnTo>
                    <a:lnTo>
                      <a:pt x="139" y="0"/>
                    </a:lnTo>
                    <a:lnTo>
                      <a:pt x="113" y="3"/>
                    </a:lnTo>
                    <a:lnTo>
                      <a:pt x="111" y="3"/>
                    </a:lnTo>
                    <a:lnTo>
                      <a:pt x="88" y="16"/>
                    </a:lnTo>
                    <a:lnTo>
                      <a:pt x="75" y="29"/>
                    </a:lnTo>
                    <a:lnTo>
                      <a:pt x="73" y="29"/>
                    </a:lnTo>
                    <a:lnTo>
                      <a:pt x="58" y="52"/>
                    </a:lnTo>
                    <a:lnTo>
                      <a:pt x="58" y="54"/>
                    </a:lnTo>
                    <a:lnTo>
                      <a:pt x="43" y="83"/>
                    </a:lnTo>
                    <a:lnTo>
                      <a:pt x="30" y="114"/>
                    </a:lnTo>
                    <a:lnTo>
                      <a:pt x="30" y="116"/>
                    </a:lnTo>
                    <a:lnTo>
                      <a:pt x="22" y="150"/>
                    </a:lnTo>
                    <a:lnTo>
                      <a:pt x="13" y="183"/>
                    </a:lnTo>
                    <a:lnTo>
                      <a:pt x="5" y="230"/>
                    </a:lnTo>
                    <a:lnTo>
                      <a:pt x="2" y="274"/>
                    </a:lnTo>
                    <a:lnTo>
                      <a:pt x="2" y="276"/>
                    </a:lnTo>
                    <a:lnTo>
                      <a:pt x="0" y="329"/>
                    </a:lnTo>
                    <a:lnTo>
                      <a:pt x="0" y="382"/>
                    </a:lnTo>
                    <a:lnTo>
                      <a:pt x="2" y="382"/>
                    </a:lnTo>
                    <a:lnTo>
                      <a:pt x="3" y="383"/>
                    </a:lnTo>
                    <a:lnTo>
                      <a:pt x="5" y="383"/>
                    </a:lnTo>
                    <a:lnTo>
                      <a:pt x="7" y="385"/>
                    </a:lnTo>
                    <a:lnTo>
                      <a:pt x="8" y="383"/>
                    </a:lnTo>
                    <a:lnTo>
                      <a:pt x="10" y="383"/>
                    </a:lnTo>
                    <a:lnTo>
                      <a:pt x="10" y="382"/>
                    </a:lnTo>
                    <a:lnTo>
                      <a:pt x="12" y="382"/>
                    </a:lnTo>
                    <a:lnTo>
                      <a:pt x="12" y="380"/>
                    </a:lnTo>
                    <a:lnTo>
                      <a:pt x="13" y="378"/>
                    </a:lnTo>
                    <a:lnTo>
                      <a:pt x="13" y="329"/>
                    </a:lnTo>
                    <a:lnTo>
                      <a:pt x="15" y="276"/>
                    </a:lnTo>
                    <a:lnTo>
                      <a:pt x="18" y="232"/>
                    </a:lnTo>
                    <a:lnTo>
                      <a:pt x="27" y="184"/>
                    </a:lnTo>
                    <a:lnTo>
                      <a:pt x="27" y="186"/>
                    </a:lnTo>
                    <a:lnTo>
                      <a:pt x="35" y="153"/>
                    </a:lnTo>
                    <a:lnTo>
                      <a:pt x="43" y="119"/>
                    </a:lnTo>
                    <a:lnTo>
                      <a:pt x="41" y="119"/>
                    </a:lnTo>
                    <a:lnTo>
                      <a:pt x="55" y="88"/>
                    </a:lnTo>
                    <a:lnTo>
                      <a:pt x="70" y="59"/>
                    </a:lnTo>
                    <a:lnTo>
                      <a:pt x="70" y="60"/>
                    </a:lnTo>
                    <a:lnTo>
                      <a:pt x="85" y="38"/>
                    </a:lnTo>
                    <a:lnTo>
                      <a:pt x="83" y="38"/>
                    </a:lnTo>
                    <a:lnTo>
                      <a:pt x="95" y="26"/>
                    </a:lnTo>
                    <a:lnTo>
                      <a:pt x="95" y="28"/>
                    </a:lnTo>
                    <a:lnTo>
                      <a:pt x="118" y="15"/>
                    </a:lnTo>
                    <a:lnTo>
                      <a:pt x="115" y="16"/>
                    </a:lnTo>
                    <a:lnTo>
                      <a:pt x="141" y="13"/>
                    </a:lnTo>
                    <a:lnTo>
                      <a:pt x="139" y="13"/>
                    </a:lnTo>
                    <a:lnTo>
                      <a:pt x="163" y="1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6" name="Freeform 241">
                <a:extLst>
                  <a:ext uri="{FF2B5EF4-FFF2-40B4-BE49-F238E27FC236}">
                    <a16:creationId xmlns:a16="http://schemas.microsoft.com/office/drawing/2014/main" id="{FE6B1F93-CD6C-43E0-807B-269E1B7DDDD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1259"/>
                <a:ext cx="518" cy="386"/>
              </a:xfrm>
              <a:custGeom>
                <a:avLst/>
                <a:gdLst/>
                <a:ahLst/>
                <a:cxnLst>
                  <a:cxn ang="0">
                    <a:pos x="420" y="13"/>
                  </a:cxn>
                  <a:cxn ang="0">
                    <a:pos x="421" y="12"/>
                  </a:cxn>
                  <a:cxn ang="0">
                    <a:pos x="423" y="12"/>
                  </a:cxn>
                  <a:cxn ang="0">
                    <a:pos x="425" y="10"/>
                  </a:cxn>
                  <a:cxn ang="0">
                    <a:pos x="425" y="8"/>
                  </a:cxn>
                  <a:cxn ang="0">
                    <a:pos x="426" y="7"/>
                  </a:cxn>
                  <a:cxn ang="0">
                    <a:pos x="426" y="5"/>
                  </a:cxn>
                  <a:cxn ang="0">
                    <a:pos x="425" y="3"/>
                  </a:cxn>
                  <a:cxn ang="0">
                    <a:pos x="425" y="2"/>
                  </a:cxn>
                  <a:cxn ang="0">
                    <a:pos x="423" y="0"/>
                  </a:cxn>
                  <a:cxn ang="0">
                    <a:pos x="418" y="0"/>
                  </a:cxn>
                  <a:cxn ang="0">
                    <a:pos x="285" y="18"/>
                  </a:cxn>
                  <a:cxn ang="0">
                    <a:pos x="187" y="36"/>
                  </a:cxn>
                  <a:cxn ang="0">
                    <a:pos x="114" y="52"/>
                  </a:cxn>
                  <a:cxn ang="0">
                    <a:pos x="88" y="59"/>
                  </a:cxn>
                  <a:cxn ang="0">
                    <a:pos x="86" y="59"/>
                  </a:cxn>
                  <a:cxn ang="0">
                    <a:pos x="64" y="70"/>
                  </a:cxn>
                  <a:cxn ang="0">
                    <a:pos x="46" y="80"/>
                  </a:cxn>
                  <a:cxn ang="0">
                    <a:pos x="44" y="82"/>
                  </a:cxn>
                  <a:cxn ang="0">
                    <a:pos x="24" y="104"/>
                  </a:cxn>
                  <a:cxn ang="0">
                    <a:pos x="23" y="106"/>
                  </a:cxn>
                  <a:cxn ang="0">
                    <a:pos x="13" y="135"/>
                  </a:cxn>
                  <a:cxn ang="0">
                    <a:pos x="13" y="137"/>
                  </a:cxn>
                  <a:cxn ang="0">
                    <a:pos x="6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1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6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1" y="313"/>
                  </a:cxn>
                  <a:cxn ang="0">
                    <a:pos x="11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6" y="212"/>
                  </a:cxn>
                  <a:cxn ang="0">
                    <a:pos x="20" y="175"/>
                  </a:cxn>
                  <a:cxn ang="0">
                    <a:pos x="26" y="139"/>
                  </a:cxn>
                  <a:cxn ang="0">
                    <a:pos x="24" y="140"/>
                  </a:cxn>
                  <a:cxn ang="0">
                    <a:pos x="34" y="111"/>
                  </a:cxn>
                  <a:cxn ang="0">
                    <a:pos x="34" y="113"/>
                  </a:cxn>
                  <a:cxn ang="0">
                    <a:pos x="54" y="90"/>
                  </a:cxn>
                  <a:cxn ang="0">
                    <a:pos x="53" y="91"/>
                  </a:cxn>
                  <a:cxn ang="0">
                    <a:pos x="71" y="82"/>
                  </a:cxn>
                  <a:cxn ang="0">
                    <a:pos x="93" y="70"/>
                  </a:cxn>
                  <a:cxn ang="0">
                    <a:pos x="91" y="72"/>
                  </a:cxn>
                  <a:cxn ang="0">
                    <a:pos x="117" y="65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287" y="31"/>
                  </a:cxn>
                  <a:cxn ang="0">
                    <a:pos x="420" y="13"/>
                  </a:cxn>
                </a:cxnLst>
                <a:rect l="0" t="0" r="r" b="b"/>
                <a:pathLst>
                  <a:path w="426" h="316">
                    <a:moveTo>
                      <a:pt x="420" y="13"/>
                    </a:moveTo>
                    <a:lnTo>
                      <a:pt x="421" y="12"/>
                    </a:lnTo>
                    <a:lnTo>
                      <a:pt x="423" y="12"/>
                    </a:lnTo>
                    <a:lnTo>
                      <a:pt x="425" y="10"/>
                    </a:lnTo>
                    <a:lnTo>
                      <a:pt x="425" y="8"/>
                    </a:lnTo>
                    <a:lnTo>
                      <a:pt x="426" y="7"/>
                    </a:lnTo>
                    <a:lnTo>
                      <a:pt x="426" y="5"/>
                    </a:lnTo>
                    <a:lnTo>
                      <a:pt x="425" y="3"/>
                    </a:lnTo>
                    <a:lnTo>
                      <a:pt x="425" y="2"/>
                    </a:lnTo>
                    <a:lnTo>
                      <a:pt x="423" y="0"/>
                    </a:lnTo>
                    <a:lnTo>
                      <a:pt x="418" y="0"/>
                    </a:lnTo>
                    <a:lnTo>
                      <a:pt x="285" y="18"/>
                    </a:lnTo>
                    <a:lnTo>
                      <a:pt x="187" y="36"/>
                    </a:lnTo>
                    <a:lnTo>
                      <a:pt x="114" y="52"/>
                    </a:lnTo>
                    <a:lnTo>
                      <a:pt x="88" y="59"/>
                    </a:lnTo>
                    <a:lnTo>
                      <a:pt x="86" y="59"/>
                    </a:lnTo>
                    <a:lnTo>
                      <a:pt x="64" y="70"/>
                    </a:lnTo>
                    <a:lnTo>
                      <a:pt x="46" y="80"/>
                    </a:lnTo>
                    <a:lnTo>
                      <a:pt x="44" y="82"/>
                    </a:lnTo>
                    <a:lnTo>
                      <a:pt x="24" y="104"/>
                    </a:lnTo>
                    <a:lnTo>
                      <a:pt x="23" y="106"/>
                    </a:lnTo>
                    <a:lnTo>
                      <a:pt x="13" y="135"/>
                    </a:lnTo>
                    <a:lnTo>
                      <a:pt x="13" y="137"/>
                    </a:lnTo>
                    <a:lnTo>
                      <a:pt x="6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1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6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1" y="313"/>
                    </a:lnTo>
                    <a:lnTo>
                      <a:pt x="11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6" y="212"/>
                    </a:lnTo>
                    <a:lnTo>
                      <a:pt x="20" y="175"/>
                    </a:lnTo>
                    <a:lnTo>
                      <a:pt x="26" y="139"/>
                    </a:lnTo>
                    <a:lnTo>
                      <a:pt x="24" y="140"/>
                    </a:lnTo>
                    <a:lnTo>
                      <a:pt x="34" y="111"/>
                    </a:lnTo>
                    <a:lnTo>
                      <a:pt x="34" y="113"/>
                    </a:lnTo>
                    <a:lnTo>
                      <a:pt x="54" y="90"/>
                    </a:lnTo>
                    <a:lnTo>
                      <a:pt x="53" y="91"/>
                    </a:lnTo>
                    <a:lnTo>
                      <a:pt x="71" y="82"/>
                    </a:lnTo>
                    <a:lnTo>
                      <a:pt x="93" y="70"/>
                    </a:lnTo>
                    <a:lnTo>
                      <a:pt x="91" y="72"/>
                    </a:lnTo>
                    <a:lnTo>
                      <a:pt x="117" y="65"/>
                    </a:lnTo>
                    <a:lnTo>
                      <a:pt x="191" y="49"/>
                    </a:lnTo>
                    <a:lnTo>
                      <a:pt x="189" y="49"/>
                    </a:lnTo>
                    <a:lnTo>
                      <a:pt x="287" y="31"/>
                    </a:lnTo>
                    <a:lnTo>
                      <a:pt x="420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7" name="Freeform 242">
                <a:extLst>
                  <a:ext uri="{FF2B5EF4-FFF2-40B4-BE49-F238E27FC236}">
                    <a16:creationId xmlns:a16="http://schemas.microsoft.com/office/drawing/2014/main" id="{1786705F-2032-4AA0-A9AA-A8979A736C5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8" y="1261"/>
                <a:ext cx="514" cy="386"/>
              </a:xfrm>
              <a:custGeom>
                <a:avLst/>
                <a:gdLst/>
                <a:ahLst/>
                <a:cxnLst>
                  <a:cxn ang="0">
                    <a:pos x="417" y="13"/>
                  </a:cxn>
                  <a:cxn ang="0">
                    <a:pos x="418" y="12"/>
                  </a:cxn>
                  <a:cxn ang="0">
                    <a:pos x="420" y="12"/>
                  </a:cxn>
                  <a:cxn ang="0">
                    <a:pos x="422" y="10"/>
                  </a:cxn>
                  <a:cxn ang="0">
                    <a:pos x="422" y="8"/>
                  </a:cxn>
                  <a:cxn ang="0">
                    <a:pos x="423" y="7"/>
                  </a:cxn>
                  <a:cxn ang="0">
                    <a:pos x="423" y="5"/>
                  </a:cxn>
                  <a:cxn ang="0">
                    <a:pos x="422" y="3"/>
                  </a:cxn>
                  <a:cxn ang="0">
                    <a:pos x="422" y="2"/>
                  </a:cxn>
                  <a:cxn ang="0">
                    <a:pos x="420" y="0"/>
                  </a:cxn>
                  <a:cxn ang="0">
                    <a:pos x="415" y="0"/>
                  </a:cxn>
                  <a:cxn ang="0">
                    <a:pos x="252" y="26"/>
                  </a:cxn>
                  <a:cxn ang="0">
                    <a:pos x="158" y="47"/>
                  </a:cxn>
                  <a:cxn ang="0">
                    <a:pos x="106" y="62"/>
                  </a:cxn>
                  <a:cxn ang="0">
                    <a:pos x="105" y="62"/>
                  </a:cxn>
                  <a:cxn ang="0">
                    <a:pos x="68" y="75"/>
                  </a:cxn>
                  <a:cxn ang="0">
                    <a:pos x="55" y="80"/>
                  </a:cxn>
                  <a:cxn ang="0">
                    <a:pos x="53" y="80"/>
                  </a:cxn>
                  <a:cxn ang="0">
                    <a:pos x="40" y="90"/>
                  </a:cxn>
                  <a:cxn ang="0">
                    <a:pos x="40" y="91"/>
                  </a:cxn>
                  <a:cxn ang="0">
                    <a:pos x="30" y="101"/>
                  </a:cxn>
                  <a:cxn ang="0">
                    <a:pos x="20" y="118"/>
                  </a:cxn>
                  <a:cxn ang="0">
                    <a:pos x="20" y="119"/>
                  </a:cxn>
                  <a:cxn ang="0">
                    <a:pos x="13" y="142"/>
                  </a:cxn>
                  <a:cxn ang="0">
                    <a:pos x="8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2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7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2" y="313"/>
                  </a:cxn>
                  <a:cxn ang="0">
                    <a:pos x="12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7" y="212"/>
                  </a:cxn>
                  <a:cxn ang="0">
                    <a:pos x="21" y="175"/>
                  </a:cxn>
                  <a:cxn ang="0">
                    <a:pos x="26" y="144"/>
                  </a:cxn>
                  <a:cxn ang="0">
                    <a:pos x="25" y="145"/>
                  </a:cxn>
                  <a:cxn ang="0">
                    <a:pos x="31" y="122"/>
                  </a:cxn>
                  <a:cxn ang="0">
                    <a:pos x="31" y="124"/>
                  </a:cxn>
                  <a:cxn ang="0">
                    <a:pos x="41" y="108"/>
                  </a:cxn>
                  <a:cxn ang="0">
                    <a:pos x="40" y="108"/>
                  </a:cxn>
                  <a:cxn ang="0">
                    <a:pos x="48" y="100"/>
                  </a:cxn>
                  <a:cxn ang="0">
                    <a:pos x="48" y="101"/>
                  </a:cxn>
                  <a:cxn ang="0">
                    <a:pos x="61" y="91"/>
                  </a:cxn>
                  <a:cxn ang="0">
                    <a:pos x="60" y="91"/>
                  </a:cxn>
                  <a:cxn ang="0">
                    <a:pos x="73" y="87"/>
                  </a:cxn>
                  <a:cxn ang="0">
                    <a:pos x="109" y="73"/>
                  </a:cxn>
                  <a:cxn ang="0">
                    <a:pos x="161" y="59"/>
                  </a:cxn>
                  <a:cxn ang="0">
                    <a:pos x="161" y="60"/>
                  </a:cxn>
                  <a:cxn ang="0">
                    <a:pos x="256" y="39"/>
                  </a:cxn>
                  <a:cxn ang="0">
                    <a:pos x="254" y="39"/>
                  </a:cxn>
                  <a:cxn ang="0">
                    <a:pos x="417" y="13"/>
                  </a:cxn>
                </a:cxnLst>
                <a:rect l="0" t="0" r="r" b="b"/>
                <a:pathLst>
                  <a:path w="423" h="316">
                    <a:moveTo>
                      <a:pt x="417" y="13"/>
                    </a:moveTo>
                    <a:lnTo>
                      <a:pt x="418" y="12"/>
                    </a:lnTo>
                    <a:lnTo>
                      <a:pt x="420" y="12"/>
                    </a:lnTo>
                    <a:lnTo>
                      <a:pt x="422" y="10"/>
                    </a:lnTo>
                    <a:lnTo>
                      <a:pt x="422" y="8"/>
                    </a:lnTo>
                    <a:lnTo>
                      <a:pt x="423" y="7"/>
                    </a:lnTo>
                    <a:lnTo>
                      <a:pt x="423" y="5"/>
                    </a:lnTo>
                    <a:lnTo>
                      <a:pt x="422" y="3"/>
                    </a:lnTo>
                    <a:lnTo>
                      <a:pt x="422" y="2"/>
                    </a:lnTo>
                    <a:lnTo>
                      <a:pt x="420" y="0"/>
                    </a:lnTo>
                    <a:lnTo>
                      <a:pt x="415" y="0"/>
                    </a:lnTo>
                    <a:lnTo>
                      <a:pt x="252" y="26"/>
                    </a:lnTo>
                    <a:lnTo>
                      <a:pt x="158" y="47"/>
                    </a:lnTo>
                    <a:lnTo>
                      <a:pt x="106" y="62"/>
                    </a:lnTo>
                    <a:lnTo>
                      <a:pt x="105" y="62"/>
                    </a:lnTo>
                    <a:lnTo>
                      <a:pt x="68" y="75"/>
                    </a:lnTo>
                    <a:lnTo>
                      <a:pt x="55" y="80"/>
                    </a:lnTo>
                    <a:lnTo>
                      <a:pt x="53" y="80"/>
                    </a:lnTo>
                    <a:lnTo>
                      <a:pt x="40" y="90"/>
                    </a:lnTo>
                    <a:lnTo>
                      <a:pt x="40" y="91"/>
                    </a:lnTo>
                    <a:lnTo>
                      <a:pt x="30" y="101"/>
                    </a:lnTo>
                    <a:lnTo>
                      <a:pt x="20" y="118"/>
                    </a:lnTo>
                    <a:lnTo>
                      <a:pt x="20" y="119"/>
                    </a:lnTo>
                    <a:lnTo>
                      <a:pt x="13" y="142"/>
                    </a:lnTo>
                    <a:lnTo>
                      <a:pt x="8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2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7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2" y="313"/>
                    </a:lnTo>
                    <a:lnTo>
                      <a:pt x="12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7" y="212"/>
                    </a:lnTo>
                    <a:lnTo>
                      <a:pt x="21" y="175"/>
                    </a:lnTo>
                    <a:lnTo>
                      <a:pt x="26" y="144"/>
                    </a:lnTo>
                    <a:lnTo>
                      <a:pt x="25" y="145"/>
                    </a:lnTo>
                    <a:lnTo>
                      <a:pt x="31" y="122"/>
                    </a:lnTo>
                    <a:lnTo>
                      <a:pt x="31" y="124"/>
                    </a:lnTo>
                    <a:lnTo>
                      <a:pt x="41" y="108"/>
                    </a:lnTo>
                    <a:lnTo>
                      <a:pt x="40" y="108"/>
                    </a:lnTo>
                    <a:lnTo>
                      <a:pt x="48" y="100"/>
                    </a:lnTo>
                    <a:lnTo>
                      <a:pt x="48" y="101"/>
                    </a:lnTo>
                    <a:lnTo>
                      <a:pt x="61" y="91"/>
                    </a:lnTo>
                    <a:lnTo>
                      <a:pt x="60" y="91"/>
                    </a:lnTo>
                    <a:lnTo>
                      <a:pt x="73" y="87"/>
                    </a:lnTo>
                    <a:lnTo>
                      <a:pt x="109" y="73"/>
                    </a:lnTo>
                    <a:lnTo>
                      <a:pt x="161" y="59"/>
                    </a:lnTo>
                    <a:lnTo>
                      <a:pt x="161" y="60"/>
                    </a:lnTo>
                    <a:lnTo>
                      <a:pt x="256" y="39"/>
                    </a:lnTo>
                    <a:lnTo>
                      <a:pt x="254" y="39"/>
                    </a:lnTo>
                    <a:lnTo>
                      <a:pt x="417" y="1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" name="Freeform 243">
                <a:extLst>
                  <a:ext uri="{FF2B5EF4-FFF2-40B4-BE49-F238E27FC236}">
                    <a16:creationId xmlns:a16="http://schemas.microsoft.com/office/drawing/2014/main" id="{C8AC5D40-1E4E-4D71-BD31-1626AD85EB1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90" y="1112"/>
                <a:ext cx="33" cy="272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3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5" y="15"/>
                  </a:cxn>
                  <a:cxn ang="0">
                    <a:pos x="13" y="10"/>
                  </a:cxn>
                  <a:cxn ang="0">
                    <a:pos x="12" y="20"/>
                  </a:cxn>
                  <a:cxn ang="0">
                    <a:pos x="7" y="57"/>
                  </a:cxn>
                  <a:cxn ang="0">
                    <a:pos x="2" y="111"/>
                  </a:cxn>
                  <a:cxn ang="0">
                    <a:pos x="0" y="139"/>
                  </a:cxn>
                  <a:cxn ang="0">
                    <a:pos x="0" y="220"/>
                  </a:cxn>
                  <a:cxn ang="0">
                    <a:pos x="2" y="220"/>
                  </a:cxn>
                  <a:cxn ang="0">
                    <a:pos x="3" y="222"/>
                  </a:cxn>
                  <a:cxn ang="0">
                    <a:pos x="5" y="222"/>
                  </a:cxn>
                  <a:cxn ang="0">
                    <a:pos x="7" y="223"/>
                  </a:cxn>
                  <a:cxn ang="0">
                    <a:pos x="8" y="222"/>
                  </a:cxn>
                  <a:cxn ang="0">
                    <a:pos x="10" y="222"/>
                  </a:cxn>
                  <a:cxn ang="0">
                    <a:pos x="10" y="220"/>
                  </a:cxn>
                  <a:cxn ang="0">
                    <a:pos x="12" y="220"/>
                  </a:cxn>
                  <a:cxn ang="0">
                    <a:pos x="12" y="219"/>
                  </a:cxn>
                  <a:cxn ang="0">
                    <a:pos x="13" y="217"/>
                  </a:cxn>
                  <a:cxn ang="0">
                    <a:pos x="13" y="140"/>
                  </a:cxn>
                  <a:cxn ang="0">
                    <a:pos x="15" y="113"/>
                  </a:cxn>
                  <a:cxn ang="0">
                    <a:pos x="20" y="59"/>
                  </a:cxn>
                  <a:cxn ang="0">
                    <a:pos x="25" y="21"/>
                  </a:cxn>
                  <a:cxn ang="0">
                    <a:pos x="27" y="11"/>
                  </a:cxn>
                  <a:cxn ang="0">
                    <a:pos x="25" y="10"/>
                  </a:cxn>
                  <a:cxn ang="0">
                    <a:pos x="25" y="8"/>
                  </a:cxn>
                  <a:cxn ang="0">
                    <a:pos x="23" y="7"/>
                  </a:cxn>
                  <a:cxn ang="0">
                    <a:pos x="18" y="2"/>
                  </a:cxn>
                </a:cxnLst>
                <a:rect l="0" t="0" r="r" b="b"/>
                <a:pathLst>
                  <a:path w="27" h="223">
                    <a:moveTo>
                      <a:pt x="18" y="2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5" y="15"/>
                    </a:lnTo>
                    <a:lnTo>
                      <a:pt x="13" y="10"/>
                    </a:lnTo>
                    <a:lnTo>
                      <a:pt x="12" y="20"/>
                    </a:lnTo>
                    <a:lnTo>
                      <a:pt x="7" y="57"/>
                    </a:lnTo>
                    <a:lnTo>
                      <a:pt x="2" y="111"/>
                    </a:lnTo>
                    <a:lnTo>
                      <a:pt x="0" y="139"/>
                    </a:lnTo>
                    <a:lnTo>
                      <a:pt x="0" y="220"/>
                    </a:lnTo>
                    <a:lnTo>
                      <a:pt x="2" y="220"/>
                    </a:lnTo>
                    <a:lnTo>
                      <a:pt x="3" y="222"/>
                    </a:lnTo>
                    <a:lnTo>
                      <a:pt x="5" y="222"/>
                    </a:lnTo>
                    <a:lnTo>
                      <a:pt x="7" y="223"/>
                    </a:lnTo>
                    <a:lnTo>
                      <a:pt x="8" y="222"/>
                    </a:lnTo>
                    <a:lnTo>
                      <a:pt x="10" y="222"/>
                    </a:lnTo>
                    <a:lnTo>
                      <a:pt x="10" y="220"/>
                    </a:lnTo>
                    <a:lnTo>
                      <a:pt x="12" y="220"/>
                    </a:lnTo>
                    <a:lnTo>
                      <a:pt x="12" y="219"/>
                    </a:lnTo>
                    <a:lnTo>
                      <a:pt x="13" y="217"/>
                    </a:lnTo>
                    <a:lnTo>
                      <a:pt x="13" y="140"/>
                    </a:lnTo>
                    <a:lnTo>
                      <a:pt x="15" y="113"/>
                    </a:lnTo>
                    <a:lnTo>
                      <a:pt x="20" y="59"/>
                    </a:lnTo>
                    <a:lnTo>
                      <a:pt x="25" y="21"/>
                    </a:lnTo>
                    <a:lnTo>
                      <a:pt x="27" y="11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7"/>
                    </a:lnTo>
                    <a:lnTo>
                      <a:pt x="18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9" name="Freeform 244">
                <a:extLst>
                  <a:ext uri="{FF2B5EF4-FFF2-40B4-BE49-F238E27FC236}">
                    <a16:creationId xmlns:a16="http://schemas.microsoft.com/office/drawing/2014/main" id="{710D7349-BB1B-4240-A7A0-7364D17CA3B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77" y="1101"/>
                <a:ext cx="56" cy="260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1"/>
                  </a:cxn>
                  <a:cxn ang="0">
                    <a:pos x="41" y="0"/>
                  </a:cxn>
                  <a:cxn ang="0">
                    <a:pos x="35" y="0"/>
                  </a:cxn>
                  <a:cxn ang="0">
                    <a:pos x="35" y="1"/>
                  </a:cxn>
                  <a:cxn ang="0">
                    <a:pos x="25" y="13"/>
                  </a:cxn>
                  <a:cxn ang="0">
                    <a:pos x="23" y="14"/>
                  </a:cxn>
                  <a:cxn ang="0">
                    <a:pos x="15" y="32"/>
                  </a:cxn>
                  <a:cxn ang="0">
                    <a:pos x="15" y="34"/>
                  </a:cxn>
                  <a:cxn ang="0">
                    <a:pos x="10" y="62"/>
                  </a:cxn>
                  <a:cxn ang="0">
                    <a:pos x="5" y="96"/>
                  </a:cxn>
                  <a:cxn ang="0">
                    <a:pos x="3" y="124"/>
                  </a:cxn>
                  <a:cxn ang="0">
                    <a:pos x="0" y="161"/>
                  </a:cxn>
                  <a:cxn ang="0">
                    <a:pos x="0" y="210"/>
                  </a:cxn>
                  <a:cxn ang="0">
                    <a:pos x="2" y="210"/>
                  </a:cxn>
                  <a:cxn ang="0">
                    <a:pos x="3" y="212"/>
                  </a:cxn>
                  <a:cxn ang="0">
                    <a:pos x="5" y="212"/>
                  </a:cxn>
                  <a:cxn ang="0">
                    <a:pos x="7" y="213"/>
                  </a:cxn>
                  <a:cxn ang="0">
                    <a:pos x="8" y="212"/>
                  </a:cxn>
                  <a:cxn ang="0">
                    <a:pos x="10" y="212"/>
                  </a:cxn>
                  <a:cxn ang="0">
                    <a:pos x="10" y="210"/>
                  </a:cxn>
                  <a:cxn ang="0">
                    <a:pos x="12" y="210"/>
                  </a:cxn>
                  <a:cxn ang="0">
                    <a:pos x="12" y="208"/>
                  </a:cxn>
                  <a:cxn ang="0">
                    <a:pos x="13" y="207"/>
                  </a:cxn>
                  <a:cxn ang="0">
                    <a:pos x="13" y="163"/>
                  </a:cxn>
                  <a:cxn ang="0">
                    <a:pos x="16" y="125"/>
                  </a:cxn>
                  <a:cxn ang="0">
                    <a:pos x="18" y="97"/>
                  </a:cxn>
                  <a:cxn ang="0">
                    <a:pos x="23" y="63"/>
                  </a:cxn>
                  <a:cxn ang="0">
                    <a:pos x="28" y="35"/>
                  </a:cxn>
                  <a:cxn ang="0">
                    <a:pos x="26" y="37"/>
                  </a:cxn>
                  <a:cxn ang="0">
                    <a:pos x="35" y="19"/>
                  </a:cxn>
                  <a:cxn ang="0">
                    <a:pos x="35" y="21"/>
                  </a:cxn>
                  <a:cxn ang="0">
                    <a:pos x="45" y="9"/>
                  </a:cxn>
                </a:cxnLst>
                <a:rect l="0" t="0" r="r" b="b"/>
                <a:pathLst>
                  <a:path w="46" h="213">
                    <a:moveTo>
                      <a:pt x="45" y="9"/>
                    </a:move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1"/>
                    </a:lnTo>
                    <a:lnTo>
                      <a:pt x="41" y="0"/>
                    </a:lnTo>
                    <a:lnTo>
                      <a:pt x="35" y="0"/>
                    </a:lnTo>
                    <a:lnTo>
                      <a:pt x="35" y="1"/>
                    </a:lnTo>
                    <a:lnTo>
                      <a:pt x="25" y="13"/>
                    </a:lnTo>
                    <a:lnTo>
                      <a:pt x="23" y="14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0" y="62"/>
                    </a:lnTo>
                    <a:lnTo>
                      <a:pt x="5" y="96"/>
                    </a:lnTo>
                    <a:lnTo>
                      <a:pt x="3" y="124"/>
                    </a:lnTo>
                    <a:lnTo>
                      <a:pt x="0" y="161"/>
                    </a:lnTo>
                    <a:lnTo>
                      <a:pt x="0" y="210"/>
                    </a:lnTo>
                    <a:lnTo>
                      <a:pt x="2" y="210"/>
                    </a:lnTo>
                    <a:lnTo>
                      <a:pt x="3" y="212"/>
                    </a:lnTo>
                    <a:lnTo>
                      <a:pt x="5" y="212"/>
                    </a:lnTo>
                    <a:lnTo>
                      <a:pt x="7" y="213"/>
                    </a:lnTo>
                    <a:lnTo>
                      <a:pt x="8" y="212"/>
                    </a:lnTo>
                    <a:lnTo>
                      <a:pt x="10" y="212"/>
                    </a:lnTo>
                    <a:lnTo>
                      <a:pt x="10" y="210"/>
                    </a:lnTo>
                    <a:lnTo>
                      <a:pt x="12" y="210"/>
                    </a:lnTo>
                    <a:lnTo>
                      <a:pt x="12" y="208"/>
                    </a:lnTo>
                    <a:lnTo>
                      <a:pt x="13" y="207"/>
                    </a:lnTo>
                    <a:lnTo>
                      <a:pt x="13" y="163"/>
                    </a:lnTo>
                    <a:lnTo>
                      <a:pt x="16" y="125"/>
                    </a:lnTo>
                    <a:lnTo>
                      <a:pt x="18" y="97"/>
                    </a:lnTo>
                    <a:lnTo>
                      <a:pt x="23" y="63"/>
                    </a:lnTo>
                    <a:lnTo>
                      <a:pt x="28" y="35"/>
                    </a:lnTo>
                    <a:lnTo>
                      <a:pt x="26" y="37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45" y="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0" name="Freeform 245">
                <a:extLst>
                  <a:ext uri="{FF2B5EF4-FFF2-40B4-BE49-F238E27FC236}">
                    <a16:creationId xmlns:a16="http://schemas.microsoft.com/office/drawing/2014/main" id="{0AE6B668-15B8-4FF5-9144-5723E457390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21" y="1144"/>
                <a:ext cx="31" cy="188"/>
              </a:xfrm>
              <a:custGeom>
                <a:avLst/>
                <a:gdLst/>
                <a:ahLst/>
                <a:cxnLst>
                  <a:cxn ang="0">
                    <a:pos x="25" y="7"/>
                  </a:cxn>
                  <a:cxn ang="0">
                    <a:pos x="25" y="5"/>
                  </a:cxn>
                  <a:cxn ang="0">
                    <a:pos x="24" y="4"/>
                  </a:cxn>
                  <a:cxn ang="0">
                    <a:pos x="24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12" y="5"/>
                  </a:cxn>
                  <a:cxn ang="0">
                    <a:pos x="7" y="45"/>
                  </a:cxn>
                  <a:cxn ang="0">
                    <a:pos x="4" y="95"/>
                  </a:cxn>
                  <a:cxn ang="0">
                    <a:pos x="0" y="133"/>
                  </a:cxn>
                  <a:cxn ang="0">
                    <a:pos x="0" y="151"/>
                  </a:cxn>
                  <a:cxn ang="0">
                    <a:pos x="2" y="151"/>
                  </a:cxn>
                  <a:cxn ang="0">
                    <a:pos x="4" y="152"/>
                  </a:cxn>
                  <a:cxn ang="0">
                    <a:pos x="5" y="152"/>
                  </a:cxn>
                  <a:cxn ang="0">
                    <a:pos x="7" y="154"/>
                  </a:cxn>
                  <a:cxn ang="0">
                    <a:pos x="9" y="152"/>
                  </a:cxn>
                  <a:cxn ang="0">
                    <a:pos x="10" y="152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2" y="149"/>
                  </a:cxn>
                  <a:cxn ang="0">
                    <a:pos x="14" y="147"/>
                  </a:cxn>
                  <a:cxn ang="0">
                    <a:pos x="14" y="134"/>
                  </a:cxn>
                  <a:cxn ang="0">
                    <a:pos x="17" y="97"/>
                  </a:cxn>
                  <a:cxn ang="0">
                    <a:pos x="20" y="46"/>
                  </a:cxn>
                  <a:cxn ang="0">
                    <a:pos x="25" y="7"/>
                  </a:cxn>
                </a:cxnLst>
                <a:rect l="0" t="0" r="r" b="b"/>
                <a:pathLst>
                  <a:path w="25" h="154">
                    <a:moveTo>
                      <a:pt x="25" y="7"/>
                    </a:moveTo>
                    <a:lnTo>
                      <a:pt x="25" y="5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5"/>
                    </a:lnTo>
                    <a:lnTo>
                      <a:pt x="7" y="45"/>
                    </a:lnTo>
                    <a:lnTo>
                      <a:pt x="4" y="95"/>
                    </a:lnTo>
                    <a:lnTo>
                      <a:pt x="0" y="133"/>
                    </a:lnTo>
                    <a:lnTo>
                      <a:pt x="0" y="151"/>
                    </a:lnTo>
                    <a:lnTo>
                      <a:pt x="2" y="151"/>
                    </a:lnTo>
                    <a:lnTo>
                      <a:pt x="4" y="152"/>
                    </a:lnTo>
                    <a:lnTo>
                      <a:pt x="5" y="152"/>
                    </a:lnTo>
                    <a:lnTo>
                      <a:pt x="7" y="154"/>
                    </a:lnTo>
                    <a:lnTo>
                      <a:pt x="9" y="152"/>
                    </a:lnTo>
                    <a:lnTo>
                      <a:pt x="10" y="152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2" y="149"/>
                    </a:lnTo>
                    <a:lnTo>
                      <a:pt x="14" y="147"/>
                    </a:lnTo>
                    <a:lnTo>
                      <a:pt x="14" y="134"/>
                    </a:lnTo>
                    <a:lnTo>
                      <a:pt x="17" y="97"/>
                    </a:lnTo>
                    <a:lnTo>
                      <a:pt x="20" y="46"/>
                    </a:lnTo>
                    <a:lnTo>
                      <a:pt x="25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246">
                <a:extLst>
                  <a:ext uri="{FF2B5EF4-FFF2-40B4-BE49-F238E27FC236}">
                    <a16:creationId xmlns:a16="http://schemas.microsoft.com/office/drawing/2014/main" id="{6D55B487-7236-4D58-A2EC-9BAC3521424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4" y="1147"/>
                <a:ext cx="29" cy="171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4"/>
                  </a:cxn>
                  <a:cxn ang="0">
                    <a:pos x="23" y="3"/>
                  </a:cxn>
                  <a:cxn ang="0">
                    <a:pos x="23" y="1"/>
                  </a:cxn>
                  <a:cxn ang="0">
                    <a:pos x="21" y="1"/>
                  </a:cxn>
                  <a:cxn ang="0">
                    <a:pos x="19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4" y="39"/>
                  </a:cxn>
                  <a:cxn ang="0">
                    <a:pos x="3" y="75"/>
                  </a:cxn>
                  <a:cxn ang="0">
                    <a:pos x="0" y="114"/>
                  </a:cxn>
                  <a:cxn ang="0">
                    <a:pos x="0" y="137"/>
                  </a:cxn>
                  <a:cxn ang="0">
                    <a:pos x="1" y="137"/>
                  </a:cxn>
                  <a:cxn ang="0">
                    <a:pos x="3" y="138"/>
                  </a:cxn>
                  <a:cxn ang="0">
                    <a:pos x="4" y="138"/>
                  </a:cxn>
                  <a:cxn ang="0">
                    <a:pos x="6" y="140"/>
                  </a:cxn>
                  <a:cxn ang="0">
                    <a:pos x="8" y="138"/>
                  </a:cxn>
                  <a:cxn ang="0">
                    <a:pos x="9" y="138"/>
                  </a:cxn>
                  <a:cxn ang="0">
                    <a:pos x="9" y="137"/>
                  </a:cxn>
                  <a:cxn ang="0">
                    <a:pos x="11" y="137"/>
                  </a:cxn>
                  <a:cxn ang="0">
                    <a:pos x="11" y="135"/>
                  </a:cxn>
                  <a:cxn ang="0">
                    <a:pos x="13" y="133"/>
                  </a:cxn>
                  <a:cxn ang="0">
                    <a:pos x="13" y="115"/>
                  </a:cxn>
                  <a:cxn ang="0">
                    <a:pos x="16" y="76"/>
                  </a:cxn>
                  <a:cxn ang="0">
                    <a:pos x="18" y="40"/>
                  </a:cxn>
                  <a:cxn ang="0">
                    <a:pos x="24" y="6"/>
                  </a:cxn>
                </a:cxnLst>
                <a:rect l="0" t="0" r="r" b="b"/>
                <a:pathLst>
                  <a:path w="24" h="140">
                    <a:moveTo>
                      <a:pt x="24" y="6"/>
                    </a:moveTo>
                    <a:lnTo>
                      <a:pt x="24" y="4"/>
                    </a:lnTo>
                    <a:lnTo>
                      <a:pt x="23" y="3"/>
                    </a:lnTo>
                    <a:lnTo>
                      <a:pt x="23" y="1"/>
                    </a:lnTo>
                    <a:lnTo>
                      <a:pt x="21" y="1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4" y="39"/>
                    </a:lnTo>
                    <a:lnTo>
                      <a:pt x="3" y="75"/>
                    </a:lnTo>
                    <a:lnTo>
                      <a:pt x="0" y="114"/>
                    </a:lnTo>
                    <a:lnTo>
                      <a:pt x="0" y="137"/>
                    </a:lnTo>
                    <a:lnTo>
                      <a:pt x="1" y="137"/>
                    </a:lnTo>
                    <a:lnTo>
                      <a:pt x="3" y="138"/>
                    </a:lnTo>
                    <a:lnTo>
                      <a:pt x="4" y="138"/>
                    </a:lnTo>
                    <a:lnTo>
                      <a:pt x="6" y="140"/>
                    </a:lnTo>
                    <a:lnTo>
                      <a:pt x="8" y="138"/>
                    </a:lnTo>
                    <a:lnTo>
                      <a:pt x="9" y="138"/>
                    </a:lnTo>
                    <a:lnTo>
                      <a:pt x="9" y="137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3" y="133"/>
                    </a:lnTo>
                    <a:lnTo>
                      <a:pt x="13" y="115"/>
                    </a:lnTo>
                    <a:lnTo>
                      <a:pt x="16" y="76"/>
                    </a:lnTo>
                    <a:lnTo>
                      <a:pt x="18" y="40"/>
                    </a:lnTo>
                    <a:lnTo>
                      <a:pt x="24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247">
                <a:extLst>
                  <a:ext uri="{FF2B5EF4-FFF2-40B4-BE49-F238E27FC236}">
                    <a16:creationId xmlns:a16="http://schemas.microsoft.com/office/drawing/2014/main" id="{C1D9A7EA-56B5-498F-8801-E207FBF6EF8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20" y="1204"/>
                <a:ext cx="36" cy="4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29"/>
                  </a:cxn>
                  <a:cxn ang="0">
                    <a:pos x="2" y="31"/>
                  </a:cxn>
                  <a:cxn ang="0">
                    <a:pos x="2" y="32"/>
                  </a:cxn>
                  <a:cxn ang="0">
                    <a:pos x="4" y="32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3" y="27"/>
                  </a:cxn>
                  <a:cxn ang="0">
                    <a:pos x="15" y="13"/>
                  </a:cxn>
                  <a:cxn ang="0">
                    <a:pos x="12" y="16"/>
                  </a:cxn>
                  <a:cxn ang="0">
                    <a:pos x="17" y="11"/>
                  </a:cxn>
                  <a:cxn ang="0">
                    <a:pos x="15" y="13"/>
                  </a:cxn>
                  <a:cxn ang="0">
                    <a:pos x="20" y="11"/>
                  </a:cxn>
                  <a:cxn ang="0">
                    <a:pos x="13" y="10"/>
                  </a:cxn>
                  <a:cxn ang="0">
                    <a:pos x="20" y="16"/>
                  </a:cxn>
                  <a:cxn ang="0">
                    <a:pos x="22" y="16"/>
                  </a:cxn>
                  <a:cxn ang="0">
                    <a:pos x="23" y="18"/>
                  </a:cxn>
                  <a:cxn ang="0">
                    <a:pos x="25" y="16"/>
                  </a:cxn>
                  <a:cxn ang="0">
                    <a:pos x="27" y="16"/>
                  </a:cxn>
                  <a:cxn ang="0">
                    <a:pos x="27" y="14"/>
                  </a:cxn>
                  <a:cxn ang="0">
                    <a:pos x="28" y="14"/>
                  </a:cxn>
                  <a:cxn ang="0">
                    <a:pos x="28" y="13"/>
                  </a:cxn>
                  <a:cxn ang="0">
                    <a:pos x="30" y="11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27" y="6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0" y="1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2" y="11"/>
                  </a:cxn>
                  <a:cxn ang="0">
                    <a:pos x="0" y="26"/>
                  </a:cxn>
                </a:cxnLst>
                <a:rect l="0" t="0" r="r" b="b"/>
                <a:pathLst>
                  <a:path w="30" h="34">
                    <a:moveTo>
                      <a:pt x="0" y="26"/>
                    </a:moveTo>
                    <a:lnTo>
                      <a:pt x="0" y="29"/>
                    </a:lnTo>
                    <a:lnTo>
                      <a:pt x="2" y="31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3" y="27"/>
                    </a:lnTo>
                    <a:lnTo>
                      <a:pt x="15" y="13"/>
                    </a:lnTo>
                    <a:lnTo>
                      <a:pt x="12" y="16"/>
                    </a:lnTo>
                    <a:lnTo>
                      <a:pt x="17" y="11"/>
                    </a:lnTo>
                    <a:lnTo>
                      <a:pt x="15" y="13"/>
                    </a:lnTo>
                    <a:lnTo>
                      <a:pt x="20" y="11"/>
                    </a:lnTo>
                    <a:lnTo>
                      <a:pt x="13" y="10"/>
                    </a:lnTo>
                    <a:lnTo>
                      <a:pt x="20" y="16"/>
                    </a:lnTo>
                    <a:lnTo>
                      <a:pt x="22" y="16"/>
                    </a:lnTo>
                    <a:lnTo>
                      <a:pt x="23" y="18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8" y="14"/>
                    </a:lnTo>
                    <a:lnTo>
                      <a:pt x="28" y="13"/>
                    </a:lnTo>
                    <a:lnTo>
                      <a:pt x="30" y="11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7" y="6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248">
                <a:extLst>
                  <a:ext uri="{FF2B5EF4-FFF2-40B4-BE49-F238E27FC236}">
                    <a16:creationId xmlns:a16="http://schemas.microsoft.com/office/drawing/2014/main" id="{9F0560E6-7406-4B53-9CF7-4426AFD7958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82" y="1205"/>
                <a:ext cx="40" cy="3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5" y="19"/>
                  </a:cxn>
                  <a:cxn ang="0">
                    <a:pos x="5" y="21"/>
                  </a:cxn>
                  <a:cxn ang="0">
                    <a:pos x="8" y="26"/>
                  </a:cxn>
                  <a:cxn ang="0">
                    <a:pos x="10" y="27"/>
                  </a:cxn>
                  <a:cxn ang="0">
                    <a:pos x="12" y="27"/>
                  </a:cxn>
                  <a:cxn ang="0">
                    <a:pos x="13" y="29"/>
                  </a:cxn>
                  <a:cxn ang="0">
                    <a:pos x="21" y="29"/>
                  </a:cxn>
                  <a:cxn ang="0">
                    <a:pos x="23" y="27"/>
                  </a:cxn>
                  <a:cxn ang="0">
                    <a:pos x="25" y="27"/>
                  </a:cxn>
                  <a:cxn ang="0">
                    <a:pos x="25" y="26"/>
                  </a:cxn>
                  <a:cxn ang="0">
                    <a:pos x="26" y="26"/>
                  </a:cxn>
                  <a:cxn ang="0">
                    <a:pos x="31" y="18"/>
                  </a:cxn>
                  <a:cxn ang="0">
                    <a:pos x="31" y="16"/>
                  </a:cxn>
                  <a:cxn ang="0">
                    <a:pos x="33" y="14"/>
                  </a:cxn>
                  <a:cxn ang="0">
                    <a:pos x="33" y="13"/>
                  </a:cxn>
                  <a:cxn ang="0">
                    <a:pos x="31" y="11"/>
                  </a:cxn>
                  <a:cxn ang="0">
                    <a:pos x="31" y="10"/>
                  </a:cxn>
                  <a:cxn ang="0">
                    <a:pos x="30" y="8"/>
                  </a:cxn>
                  <a:cxn ang="0">
                    <a:pos x="23" y="8"/>
                  </a:cxn>
                  <a:cxn ang="0">
                    <a:pos x="20" y="11"/>
                  </a:cxn>
                  <a:cxn ang="0">
                    <a:pos x="15" y="19"/>
                  </a:cxn>
                  <a:cxn ang="0">
                    <a:pos x="21" y="16"/>
                  </a:cxn>
                  <a:cxn ang="0">
                    <a:pos x="15" y="16"/>
                  </a:cxn>
                  <a:cxn ang="0">
                    <a:pos x="20" y="18"/>
                  </a:cxn>
                  <a:cxn ang="0">
                    <a:pos x="16" y="13"/>
                  </a:cxn>
                  <a:cxn ang="0">
                    <a:pos x="16" y="14"/>
                  </a:cxn>
                  <a:cxn ang="0">
                    <a:pos x="12" y="3"/>
                  </a:cxn>
                </a:cxnLst>
                <a:rect l="0" t="0" r="r" b="b"/>
                <a:pathLst>
                  <a:path w="33" h="29">
                    <a:moveTo>
                      <a:pt x="12" y="3"/>
                    </a:move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8" y="26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3" y="29"/>
                    </a:lnTo>
                    <a:lnTo>
                      <a:pt x="21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6" y="26"/>
                    </a:lnTo>
                    <a:lnTo>
                      <a:pt x="31" y="18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31" y="10"/>
                    </a:lnTo>
                    <a:lnTo>
                      <a:pt x="30" y="8"/>
                    </a:lnTo>
                    <a:lnTo>
                      <a:pt x="23" y="8"/>
                    </a:lnTo>
                    <a:lnTo>
                      <a:pt x="20" y="11"/>
                    </a:lnTo>
                    <a:lnTo>
                      <a:pt x="15" y="19"/>
                    </a:lnTo>
                    <a:lnTo>
                      <a:pt x="21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249">
                <a:extLst>
                  <a:ext uri="{FF2B5EF4-FFF2-40B4-BE49-F238E27FC236}">
                    <a16:creationId xmlns:a16="http://schemas.microsoft.com/office/drawing/2014/main" id="{6D8EB2DC-E502-4FEB-8463-182E7569564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13" y="1194"/>
                <a:ext cx="22" cy="6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16" y="5"/>
                  </a:cxn>
                  <a:cxn ang="0">
                    <a:pos x="16" y="3"/>
                  </a:cxn>
                  <a:cxn ang="0">
                    <a:pos x="15" y="2"/>
                  </a:cxn>
                  <a:cxn ang="0">
                    <a:pos x="15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5" y="31"/>
                  </a:cxn>
                  <a:cxn ang="0">
                    <a:pos x="16" y="26"/>
                  </a:cxn>
                  <a:cxn ang="0">
                    <a:pos x="11" y="20"/>
                  </a:cxn>
                  <a:cxn ang="0">
                    <a:pos x="10" y="18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1"/>
                  </a:cxn>
                  <a:cxn ang="0">
                    <a:pos x="5" y="51"/>
                  </a:cxn>
                  <a:cxn ang="0">
                    <a:pos x="6" y="52"/>
                  </a:cxn>
                  <a:cxn ang="0">
                    <a:pos x="8" y="51"/>
                  </a:cxn>
                  <a:cxn ang="0">
                    <a:pos x="10" y="51"/>
                  </a:cxn>
                  <a:cxn ang="0">
                    <a:pos x="10" y="49"/>
                  </a:cxn>
                  <a:cxn ang="0">
                    <a:pos x="11" y="49"/>
                  </a:cxn>
                  <a:cxn ang="0">
                    <a:pos x="11" y="47"/>
                  </a:cxn>
                  <a:cxn ang="0">
                    <a:pos x="13" y="46"/>
                  </a:cxn>
                  <a:cxn ang="0">
                    <a:pos x="13" y="24"/>
                  </a:cxn>
                  <a:cxn ang="0">
                    <a:pos x="0" y="28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8" y="36"/>
                  </a:cxn>
                  <a:cxn ang="0">
                    <a:pos x="10" y="36"/>
                  </a:cxn>
                  <a:cxn ang="0">
                    <a:pos x="11" y="38"/>
                  </a:cxn>
                  <a:cxn ang="0">
                    <a:pos x="13" y="36"/>
                  </a:cxn>
                  <a:cxn ang="0">
                    <a:pos x="15" y="36"/>
                  </a:cxn>
                  <a:cxn ang="0">
                    <a:pos x="15" y="34"/>
                  </a:cxn>
                  <a:cxn ang="0">
                    <a:pos x="16" y="34"/>
                  </a:cxn>
                  <a:cxn ang="0">
                    <a:pos x="16" y="33"/>
                  </a:cxn>
                  <a:cxn ang="0">
                    <a:pos x="18" y="31"/>
                  </a:cxn>
                  <a:cxn ang="0">
                    <a:pos x="18" y="7"/>
                  </a:cxn>
                </a:cxnLst>
                <a:rect l="0" t="0" r="r" b="b"/>
                <a:pathLst>
                  <a:path w="18" h="52">
                    <a:moveTo>
                      <a:pt x="18" y="7"/>
                    </a:moveTo>
                    <a:lnTo>
                      <a:pt x="16" y="5"/>
                    </a:lnTo>
                    <a:lnTo>
                      <a:pt x="16" y="3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5" y="31"/>
                    </a:lnTo>
                    <a:lnTo>
                      <a:pt x="16" y="26"/>
                    </a:lnTo>
                    <a:lnTo>
                      <a:pt x="11" y="20"/>
                    </a:lnTo>
                    <a:lnTo>
                      <a:pt x="10" y="18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49"/>
                    </a:lnTo>
                    <a:lnTo>
                      <a:pt x="2" y="49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6" y="52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3" y="46"/>
                    </a:lnTo>
                    <a:lnTo>
                      <a:pt x="13" y="24"/>
                    </a:lnTo>
                    <a:lnTo>
                      <a:pt x="0" y="28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1" y="38"/>
                    </a:lnTo>
                    <a:lnTo>
                      <a:pt x="13" y="36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6" y="34"/>
                    </a:lnTo>
                    <a:lnTo>
                      <a:pt x="16" y="33"/>
                    </a:lnTo>
                    <a:lnTo>
                      <a:pt x="18" y="31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250">
                <a:extLst>
                  <a:ext uri="{FF2B5EF4-FFF2-40B4-BE49-F238E27FC236}">
                    <a16:creationId xmlns:a16="http://schemas.microsoft.com/office/drawing/2014/main" id="{F3A4842E-A0AA-43C9-BA10-81D92740E31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89" y="1636"/>
                <a:ext cx="198" cy="377"/>
              </a:xfrm>
              <a:custGeom>
                <a:avLst/>
                <a:gdLst/>
                <a:ahLst/>
                <a:cxnLst>
                  <a:cxn ang="0">
                    <a:pos x="156" y="306"/>
                  </a:cxn>
                  <a:cxn ang="0">
                    <a:pos x="158" y="305"/>
                  </a:cxn>
                  <a:cxn ang="0">
                    <a:pos x="159" y="305"/>
                  </a:cxn>
                  <a:cxn ang="0">
                    <a:pos x="161" y="303"/>
                  </a:cxn>
                  <a:cxn ang="0">
                    <a:pos x="161" y="301"/>
                  </a:cxn>
                  <a:cxn ang="0">
                    <a:pos x="163" y="300"/>
                  </a:cxn>
                  <a:cxn ang="0">
                    <a:pos x="163" y="298"/>
                  </a:cxn>
                  <a:cxn ang="0">
                    <a:pos x="161" y="296"/>
                  </a:cxn>
                  <a:cxn ang="0">
                    <a:pos x="161" y="295"/>
                  </a:cxn>
                  <a:cxn ang="0">
                    <a:pos x="159" y="293"/>
                  </a:cxn>
                  <a:cxn ang="0">
                    <a:pos x="154" y="293"/>
                  </a:cxn>
                  <a:cxn ang="0">
                    <a:pos x="131" y="296"/>
                  </a:cxn>
                  <a:cxn ang="0">
                    <a:pos x="133" y="296"/>
                  </a:cxn>
                  <a:cxn ang="0">
                    <a:pos x="116" y="295"/>
                  </a:cxn>
                  <a:cxn ang="0">
                    <a:pos x="118" y="295"/>
                  </a:cxn>
                  <a:cxn ang="0">
                    <a:pos x="95" y="283"/>
                  </a:cxn>
                  <a:cxn ang="0">
                    <a:pos x="96" y="285"/>
                  </a:cxn>
                  <a:cxn ang="0">
                    <a:pos x="75" y="265"/>
                  </a:cxn>
                  <a:cxn ang="0">
                    <a:pos x="76" y="265"/>
                  </a:cxn>
                  <a:cxn ang="0">
                    <a:pos x="58" y="238"/>
                  </a:cxn>
                  <a:cxn ang="0">
                    <a:pos x="58" y="239"/>
                  </a:cxn>
                  <a:cxn ang="0">
                    <a:pos x="41" y="202"/>
                  </a:cxn>
                  <a:cxn ang="0">
                    <a:pos x="43" y="203"/>
                  </a:cxn>
                  <a:cxn ang="0">
                    <a:pos x="30" y="151"/>
                  </a:cxn>
                  <a:cxn ang="0">
                    <a:pos x="20" y="93"/>
                  </a:cxn>
                  <a:cxn ang="0">
                    <a:pos x="15" y="42"/>
                  </a:cxn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2" y="44"/>
                  </a:cxn>
                  <a:cxn ang="0">
                    <a:pos x="7" y="94"/>
                  </a:cxn>
                  <a:cxn ang="0">
                    <a:pos x="17" y="153"/>
                  </a:cxn>
                  <a:cxn ang="0">
                    <a:pos x="17" y="155"/>
                  </a:cxn>
                  <a:cxn ang="0">
                    <a:pos x="30" y="207"/>
                  </a:cxn>
                  <a:cxn ang="0">
                    <a:pos x="46" y="244"/>
                  </a:cxn>
                  <a:cxn ang="0">
                    <a:pos x="46" y="246"/>
                  </a:cxn>
                  <a:cxn ang="0">
                    <a:pos x="65" y="274"/>
                  </a:cxn>
                  <a:cxn ang="0">
                    <a:pos x="66" y="275"/>
                  </a:cxn>
                  <a:cxn ang="0">
                    <a:pos x="88" y="295"/>
                  </a:cxn>
                  <a:cxn ang="0">
                    <a:pos x="90" y="295"/>
                  </a:cxn>
                  <a:cxn ang="0">
                    <a:pos x="113" y="306"/>
                  </a:cxn>
                  <a:cxn ang="0">
                    <a:pos x="115" y="308"/>
                  </a:cxn>
                  <a:cxn ang="0">
                    <a:pos x="131" y="309"/>
                  </a:cxn>
                  <a:cxn ang="0">
                    <a:pos x="133" y="309"/>
                  </a:cxn>
                  <a:cxn ang="0">
                    <a:pos x="156" y="306"/>
                  </a:cxn>
                </a:cxnLst>
                <a:rect l="0" t="0" r="r" b="b"/>
                <a:pathLst>
                  <a:path w="163" h="309">
                    <a:moveTo>
                      <a:pt x="156" y="306"/>
                    </a:moveTo>
                    <a:lnTo>
                      <a:pt x="158" y="305"/>
                    </a:lnTo>
                    <a:lnTo>
                      <a:pt x="159" y="305"/>
                    </a:lnTo>
                    <a:lnTo>
                      <a:pt x="161" y="303"/>
                    </a:lnTo>
                    <a:lnTo>
                      <a:pt x="161" y="301"/>
                    </a:lnTo>
                    <a:lnTo>
                      <a:pt x="163" y="300"/>
                    </a:lnTo>
                    <a:lnTo>
                      <a:pt x="163" y="298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59" y="293"/>
                    </a:lnTo>
                    <a:lnTo>
                      <a:pt x="154" y="293"/>
                    </a:lnTo>
                    <a:lnTo>
                      <a:pt x="131" y="296"/>
                    </a:lnTo>
                    <a:lnTo>
                      <a:pt x="133" y="296"/>
                    </a:lnTo>
                    <a:lnTo>
                      <a:pt x="116" y="295"/>
                    </a:lnTo>
                    <a:lnTo>
                      <a:pt x="118" y="295"/>
                    </a:lnTo>
                    <a:lnTo>
                      <a:pt x="95" y="283"/>
                    </a:lnTo>
                    <a:lnTo>
                      <a:pt x="96" y="285"/>
                    </a:lnTo>
                    <a:lnTo>
                      <a:pt x="75" y="265"/>
                    </a:lnTo>
                    <a:lnTo>
                      <a:pt x="76" y="265"/>
                    </a:lnTo>
                    <a:lnTo>
                      <a:pt x="58" y="238"/>
                    </a:lnTo>
                    <a:lnTo>
                      <a:pt x="58" y="239"/>
                    </a:lnTo>
                    <a:lnTo>
                      <a:pt x="41" y="202"/>
                    </a:lnTo>
                    <a:lnTo>
                      <a:pt x="43" y="203"/>
                    </a:lnTo>
                    <a:lnTo>
                      <a:pt x="30" y="151"/>
                    </a:lnTo>
                    <a:lnTo>
                      <a:pt x="20" y="93"/>
                    </a:lnTo>
                    <a:lnTo>
                      <a:pt x="15" y="42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44"/>
                    </a:lnTo>
                    <a:lnTo>
                      <a:pt x="7" y="94"/>
                    </a:lnTo>
                    <a:lnTo>
                      <a:pt x="17" y="153"/>
                    </a:lnTo>
                    <a:lnTo>
                      <a:pt x="17" y="155"/>
                    </a:lnTo>
                    <a:lnTo>
                      <a:pt x="30" y="207"/>
                    </a:lnTo>
                    <a:lnTo>
                      <a:pt x="46" y="244"/>
                    </a:lnTo>
                    <a:lnTo>
                      <a:pt x="46" y="246"/>
                    </a:lnTo>
                    <a:lnTo>
                      <a:pt x="65" y="274"/>
                    </a:lnTo>
                    <a:lnTo>
                      <a:pt x="66" y="275"/>
                    </a:lnTo>
                    <a:lnTo>
                      <a:pt x="88" y="295"/>
                    </a:lnTo>
                    <a:lnTo>
                      <a:pt x="90" y="295"/>
                    </a:lnTo>
                    <a:lnTo>
                      <a:pt x="113" y="306"/>
                    </a:lnTo>
                    <a:lnTo>
                      <a:pt x="115" y="308"/>
                    </a:lnTo>
                    <a:lnTo>
                      <a:pt x="131" y="309"/>
                    </a:lnTo>
                    <a:lnTo>
                      <a:pt x="133" y="309"/>
                    </a:lnTo>
                    <a:lnTo>
                      <a:pt x="156" y="30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251">
                <a:extLst>
                  <a:ext uri="{FF2B5EF4-FFF2-40B4-BE49-F238E27FC236}">
                    <a16:creationId xmlns:a16="http://schemas.microsoft.com/office/drawing/2014/main" id="{0A650649-658F-4D79-A1A4-620511961C6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22" y="1548"/>
                <a:ext cx="583" cy="52"/>
              </a:xfrm>
              <a:custGeom>
                <a:avLst/>
                <a:gdLst/>
                <a:ahLst/>
                <a:cxnLst>
                  <a:cxn ang="0">
                    <a:pos x="476" y="26"/>
                  </a:cxn>
                  <a:cxn ang="0">
                    <a:pos x="478" y="25"/>
                  </a:cxn>
                  <a:cxn ang="0">
                    <a:pos x="478" y="23"/>
                  </a:cxn>
                  <a:cxn ang="0">
                    <a:pos x="480" y="21"/>
                  </a:cxn>
                  <a:cxn ang="0">
                    <a:pos x="480" y="20"/>
                  </a:cxn>
                  <a:cxn ang="0">
                    <a:pos x="478" y="18"/>
                  </a:cxn>
                  <a:cxn ang="0">
                    <a:pos x="478" y="17"/>
                  </a:cxn>
                  <a:cxn ang="0">
                    <a:pos x="476" y="17"/>
                  </a:cxn>
                  <a:cxn ang="0">
                    <a:pos x="475" y="15"/>
                  </a:cxn>
                  <a:cxn ang="0">
                    <a:pos x="468" y="15"/>
                  </a:cxn>
                  <a:cxn ang="0">
                    <a:pos x="458" y="21"/>
                  </a:cxn>
                  <a:cxn ang="0">
                    <a:pos x="461" y="21"/>
                  </a:cxn>
                  <a:cxn ang="0">
                    <a:pos x="438" y="28"/>
                  </a:cxn>
                  <a:cxn ang="0">
                    <a:pos x="403" y="30"/>
                  </a:cxn>
                  <a:cxn ang="0">
                    <a:pos x="405" y="30"/>
                  </a:cxn>
                  <a:cxn ang="0">
                    <a:pos x="259" y="23"/>
                  </a:cxn>
                  <a:cxn ang="0">
                    <a:pos x="186" y="17"/>
                  </a:cxn>
                  <a:cxn ang="0">
                    <a:pos x="111" y="8"/>
                  </a:cxn>
                  <a:cxn ang="0">
                    <a:pos x="53" y="0"/>
                  </a:cxn>
                  <a:cxn ang="0">
                    <a:pos x="28" y="0"/>
                  </a:cxn>
                  <a:cxn ang="0">
                    <a:pos x="13" y="5"/>
                  </a:cxn>
                  <a:cxn ang="0">
                    <a:pos x="11" y="5"/>
                  </a:cxn>
                  <a:cxn ang="0">
                    <a:pos x="1" y="12"/>
                  </a:cxn>
                  <a:cxn ang="0">
                    <a:pos x="1" y="13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1" y="23"/>
                  </a:cxn>
                  <a:cxn ang="0">
                    <a:pos x="3" y="23"/>
                  </a:cxn>
                  <a:cxn ang="0">
                    <a:pos x="5" y="25"/>
                  </a:cxn>
                  <a:cxn ang="0">
                    <a:pos x="6" y="25"/>
                  </a:cxn>
                  <a:cxn ang="0">
                    <a:pos x="8" y="23"/>
                  </a:cxn>
                  <a:cxn ang="0">
                    <a:pos x="10" y="23"/>
                  </a:cxn>
                  <a:cxn ang="0">
                    <a:pos x="20" y="17"/>
                  </a:cxn>
                  <a:cxn ang="0">
                    <a:pos x="18" y="17"/>
                  </a:cxn>
                  <a:cxn ang="0">
                    <a:pos x="33" y="12"/>
                  </a:cxn>
                  <a:cxn ang="0">
                    <a:pos x="31" y="13"/>
                  </a:cxn>
                  <a:cxn ang="0">
                    <a:pos x="53" y="13"/>
                  </a:cxn>
                  <a:cxn ang="0">
                    <a:pos x="51" y="13"/>
                  </a:cxn>
                  <a:cxn ang="0">
                    <a:pos x="109" y="21"/>
                  </a:cxn>
                  <a:cxn ang="0">
                    <a:pos x="184" y="30"/>
                  </a:cxn>
                  <a:cxn ang="0">
                    <a:pos x="257" y="36"/>
                  </a:cxn>
                  <a:cxn ang="0">
                    <a:pos x="403" y="43"/>
                  </a:cxn>
                  <a:cxn ang="0">
                    <a:pos x="405" y="43"/>
                  </a:cxn>
                  <a:cxn ang="0">
                    <a:pos x="440" y="41"/>
                  </a:cxn>
                  <a:cxn ang="0">
                    <a:pos x="441" y="39"/>
                  </a:cxn>
                  <a:cxn ang="0">
                    <a:pos x="465" y="33"/>
                  </a:cxn>
                  <a:cxn ang="0">
                    <a:pos x="466" y="33"/>
                  </a:cxn>
                  <a:cxn ang="0">
                    <a:pos x="476" y="26"/>
                  </a:cxn>
                </a:cxnLst>
                <a:rect l="0" t="0" r="r" b="b"/>
                <a:pathLst>
                  <a:path w="480" h="43">
                    <a:moveTo>
                      <a:pt x="476" y="26"/>
                    </a:moveTo>
                    <a:lnTo>
                      <a:pt x="478" y="25"/>
                    </a:lnTo>
                    <a:lnTo>
                      <a:pt x="478" y="23"/>
                    </a:lnTo>
                    <a:lnTo>
                      <a:pt x="480" y="21"/>
                    </a:lnTo>
                    <a:lnTo>
                      <a:pt x="480" y="20"/>
                    </a:lnTo>
                    <a:lnTo>
                      <a:pt x="478" y="18"/>
                    </a:lnTo>
                    <a:lnTo>
                      <a:pt x="478" y="17"/>
                    </a:lnTo>
                    <a:lnTo>
                      <a:pt x="476" y="17"/>
                    </a:lnTo>
                    <a:lnTo>
                      <a:pt x="475" y="15"/>
                    </a:lnTo>
                    <a:lnTo>
                      <a:pt x="468" y="15"/>
                    </a:lnTo>
                    <a:lnTo>
                      <a:pt x="458" y="21"/>
                    </a:lnTo>
                    <a:lnTo>
                      <a:pt x="461" y="21"/>
                    </a:lnTo>
                    <a:lnTo>
                      <a:pt x="438" y="28"/>
                    </a:lnTo>
                    <a:lnTo>
                      <a:pt x="403" y="30"/>
                    </a:lnTo>
                    <a:lnTo>
                      <a:pt x="405" y="30"/>
                    </a:lnTo>
                    <a:lnTo>
                      <a:pt x="259" y="23"/>
                    </a:lnTo>
                    <a:lnTo>
                      <a:pt x="186" y="17"/>
                    </a:lnTo>
                    <a:lnTo>
                      <a:pt x="111" y="8"/>
                    </a:lnTo>
                    <a:lnTo>
                      <a:pt x="53" y="0"/>
                    </a:lnTo>
                    <a:lnTo>
                      <a:pt x="28" y="0"/>
                    </a:lnTo>
                    <a:lnTo>
                      <a:pt x="13" y="5"/>
                    </a:lnTo>
                    <a:lnTo>
                      <a:pt x="11" y="5"/>
                    </a:lnTo>
                    <a:lnTo>
                      <a:pt x="1" y="12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5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20" y="17"/>
                    </a:lnTo>
                    <a:lnTo>
                      <a:pt x="18" y="17"/>
                    </a:lnTo>
                    <a:lnTo>
                      <a:pt x="33" y="12"/>
                    </a:lnTo>
                    <a:lnTo>
                      <a:pt x="31" y="13"/>
                    </a:lnTo>
                    <a:lnTo>
                      <a:pt x="53" y="13"/>
                    </a:lnTo>
                    <a:lnTo>
                      <a:pt x="51" y="13"/>
                    </a:lnTo>
                    <a:lnTo>
                      <a:pt x="109" y="21"/>
                    </a:lnTo>
                    <a:lnTo>
                      <a:pt x="184" y="30"/>
                    </a:lnTo>
                    <a:lnTo>
                      <a:pt x="257" y="36"/>
                    </a:lnTo>
                    <a:lnTo>
                      <a:pt x="403" y="43"/>
                    </a:lnTo>
                    <a:lnTo>
                      <a:pt x="405" y="43"/>
                    </a:lnTo>
                    <a:lnTo>
                      <a:pt x="440" y="41"/>
                    </a:lnTo>
                    <a:lnTo>
                      <a:pt x="441" y="39"/>
                    </a:lnTo>
                    <a:lnTo>
                      <a:pt x="465" y="33"/>
                    </a:lnTo>
                    <a:lnTo>
                      <a:pt x="466" y="33"/>
                    </a:lnTo>
                    <a:lnTo>
                      <a:pt x="476" y="2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252">
                <a:extLst>
                  <a:ext uri="{FF2B5EF4-FFF2-40B4-BE49-F238E27FC236}">
                    <a16:creationId xmlns:a16="http://schemas.microsoft.com/office/drawing/2014/main" id="{4AACBC47-BA08-470D-BA3A-5F746C6C135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39" y="1324"/>
                <a:ext cx="811" cy="485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0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3" y="85"/>
                  </a:cxn>
                  <a:cxn ang="0">
                    <a:pos x="10" y="154"/>
                  </a:cxn>
                  <a:cxn ang="0">
                    <a:pos x="20" y="203"/>
                  </a:cxn>
                  <a:cxn ang="0">
                    <a:pos x="50" y="287"/>
                  </a:cxn>
                  <a:cxn ang="0">
                    <a:pos x="66" y="315"/>
                  </a:cxn>
                  <a:cxn ang="0">
                    <a:pos x="95" y="340"/>
                  </a:cxn>
                  <a:cxn ang="0">
                    <a:pos x="120" y="349"/>
                  </a:cxn>
                  <a:cxn ang="0">
                    <a:pos x="159" y="364"/>
                  </a:cxn>
                  <a:cxn ang="0">
                    <a:pos x="247" y="382"/>
                  </a:cxn>
                  <a:cxn ang="0">
                    <a:pos x="339" y="390"/>
                  </a:cxn>
                  <a:cxn ang="0">
                    <a:pos x="407" y="392"/>
                  </a:cxn>
                  <a:cxn ang="0">
                    <a:pos x="477" y="397"/>
                  </a:cxn>
                  <a:cxn ang="0">
                    <a:pos x="606" y="393"/>
                  </a:cxn>
                  <a:cxn ang="0">
                    <a:pos x="614" y="392"/>
                  </a:cxn>
                  <a:cxn ang="0">
                    <a:pos x="628" y="374"/>
                  </a:cxn>
                  <a:cxn ang="0">
                    <a:pos x="634" y="354"/>
                  </a:cxn>
                  <a:cxn ang="0">
                    <a:pos x="644" y="345"/>
                  </a:cxn>
                  <a:cxn ang="0">
                    <a:pos x="663" y="336"/>
                  </a:cxn>
                  <a:cxn ang="0">
                    <a:pos x="666" y="335"/>
                  </a:cxn>
                  <a:cxn ang="0">
                    <a:pos x="668" y="332"/>
                  </a:cxn>
                  <a:cxn ang="0">
                    <a:pos x="666" y="328"/>
                  </a:cxn>
                  <a:cxn ang="0">
                    <a:pos x="664" y="325"/>
                  </a:cxn>
                  <a:cxn ang="0">
                    <a:pos x="636" y="335"/>
                  </a:cxn>
                  <a:cxn ang="0">
                    <a:pos x="634" y="336"/>
                  </a:cxn>
                  <a:cxn ang="0">
                    <a:pos x="623" y="348"/>
                  </a:cxn>
                  <a:cxn ang="0">
                    <a:pos x="616" y="367"/>
                  </a:cxn>
                  <a:cxn ang="0">
                    <a:pos x="606" y="380"/>
                  </a:cxn>
                  <a:cxn ang="0">
                    <a:pos x="604" y="380"/>
                  </a:cxn>
                  <a:cxn ang="0">
                    <a:pos x="591" y="384"/>
                  </a:cxn>
                  <a:cxn ang="0">
                    <a:pos x="407" y="379"/>
                  </a:cxn>
                  <a:cxn ang="0">
                    <a:pos x="284" y="372"/>
                  </a:cxn>
                  <a:cxn ang="0">
                    <a:pos x="208" y="363"/>
                  </a:cxn>
                  <a:cxn ang="0">
                    <a:pos x="163" y="351"/>
                  </a:cxn>
                  <a:cxn ang="0">
                    <a:pos x="101" y="328"/>
                  </a:cxn>
                  <a:cxn ang="0">
                    <a:pos x="76" y="307"/>
                  </a:cxn>
                  <a:cxn ang="0">
                    <a:pos x="61" y="283"/>
                  </a:cxn>
                  <a:cxn ang="0">
                    <a:pos x="47" y="252"/>
                  </a:cxn>
                  <a:cxn ang="0">
                    <a:pos x="33" y="199"/>
                  </a:cxn>
                  <a:cxn ang="0">
                    <a:pos x="18" y="105"/>
                  </a:cxn>
                  <a:cxn ang="0">
                    <a:pos x="13" y="5"/>
                  </a:cxn>
                </a:cxnLst>
                <a:rect l="0" t="0" r="r" b="b"/>
                <a:pathLst>
                  <a:path w="668" h="397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85"/>
                    </a:lnTo>
                    <a:lnTo>
                      <a:pt x="5" y="106"/>
                    </a:lnTo>
                    <a:lnTo>
                      <a:pt x="10" y="154"/>
                    </a:lnTo>
                    <a:lnTo>
                      <a:pt x="20" y="201"/>
                    </a:lnTo>
                    <a:lnTo>
                      <a:pt x="20" y="203"/>
                    </a:lnTo>
                    <a:lnTo>
                      <a:pt x="35" y="255"/>
                    </a:lnTo>
                    <a:lnTo>
                      <a:pt x="50" y="287"/>
                    </a:lnTo>
                    <a:lnTo>
                      <a:pt x="50" y="289"/>
                    </a:lnTo>
                    <a:lnTo>
                      <a:pt x="66" y="315"/>
                    </a:lnTo>
                    <a:lnTo>
                      <a:pt x="68" y="317"/>
                    </a:lnTo>
                    <a:lnTo>
                      <a:pt x="95" y="340"/>
                    </a:lnTo>
                    <a:lnTo>
                      <a:pt x="96" y="340"/>
                    </a:lnTo>
                    <a:lnTo>
                      <a:pt x="120" y="349"/>
                    </a:lnTo>
                    <a:lnTo>
                      <a:pt x="158" y="363"/>
                    </a:lnTo>
                    <a:lnTo>
                      <a:pt x="159" y="364"/>
                    </a:lnTo>
                    <a:lnTo>
                      <a:pt x="206" y="376"/>
                    </a:lnTo>
                    <a:lnTo>
                      <a:pt x="247" y="382"/>
                    </a:lnTo>
                    <a:lnTo>
                      <a:pt x="282" y="385"/>
                    </a:lnTo>
                    <a:lnTo>
                      <a:pt x="339" y="390"/>
                    </a:lnTo>
                    <a:lnTo>
                      <a:pt x="340" y="390"/>
                    </a:lnTo>
                    <a:lnTo>
                      <a:pt x="407" y="392"/>
                    </a:lnTo>
                    <a:lnTo>
                      <a:pt x="405" y="392"/>
                    </a:lnTo>
                    <a:lnTo>
                      <a:pt x="477" y="397"/>
                    </a:lnTo>
                    <a:lnTo>
                      <a:pt x="591" y="397"/>
                    </a:lnTo>
                    <a:lnTo>
                      <a:pt x="606" y="393"/>
                    </a:lnTo>
                    <a:lnTo>
                      <a:pt x="608" y="393"/>
                    </a:lnTo>
                    <a:lnTo>
                      <a:pt x="614" y="392"/>
                    </a:lnTo>
                    <a:lnTo>
                      <a:pt x="618" y="389"/>
                    </a:lnTo>
                    <a:lnTo>
                      <a:pt x="628" y="374"/>
                    </a:lnTo>
                    <a:lnTo>
                      <a:pt x="628" y="372"/>
                    </a:lnTo>
                    <a:lnTo>
                      <a:pt x="634" y="354"/>
                    </a:lnTo>
                    <a:lnTo>
                      <a:pt x="634" y="356"/>
                    </a:lnTo>
                    <a:lnTo>
                      <a:pt x="644" y="345"/>
                    </a:lnTo>
                    <a:lnTo>
                      <a:pt x="641" y="346"/>
                    </a:lnTo>
                    <a:lnTo>
                      <a:pt x="663" y="336"/>
                    </a:lnTo>
                    <a:lnTo>
                      <a:pt x="664" y="336"/>
                    </a:lnTo>
                    <a:lnTo>
                      <a:pt x="666" y="335"/>
                    </a:lnTo>
                    <a:lnTo>
                      <a:pt x="666" y="333"/>
                    </a:lnTo>
                    <a:lnTo>
                      <a:pt x="668" y="332"/>
                    </a:lnTo>
                    <a:lnTo>
                      <a:pt x="668" y="330"/>
                    </a:lnTo>
                    <a:lnTo>
                      <a:pt x="666" y="328"/>
                    </a:lnTo>
                    <a:lnTo>
                      <a:pt x="666" y="327"/>
                    </a:lnTo>
                    <a:lnTo>
                      <a:pt x="664" y="325"/>
                    </a:lnTo>
                    <a:lnTo>
                      <a:pt x="658" y="325"/>
                    </a:lnTo>
                    <a:lnTo>
                      <a:pt x="636" y="335"/>
                    </a:lnTo>
                    <a:lnTo>
                      <a:pt x="634" y="335"/>
                    </a:lnTo>
                    <a:lnTo>
                      <a:pt x="634" y="336"/>
                    </a:lnTo>
                    <a:lnTo>
                      <a:pt x="624" y="348"/>
                    </a:lnTo>
                    <a:lnTo>
                      <a:pt x="623" y="348"/>
                    </a:lnTo>
                    <a:lnTo>
                      <a:pt x="623" y="349"/>
                    </a:lnTo>
                    <a:lnTo>
                      <a:pt x="616" y="367"/>
                    </a:lnTo>
                    <a:lnTo>
                      <a:pt x="616" y="366"/>
                    </a:lnTo>
                    <a:lnTo>
                      <a:pt x="606" y="380"/>
                    </a:lnTo>
                    <a:lnTo>
                      <a:pt x="611" y="379"/>
                    </a:lnTo>
                    <a:lnTo>
                      <a:pt x="604" y="380"/>
                    </a:lnTo>
                    <a:lnTo>
                      <a:pt x="589" y="384"/>
                    </a:lnTo>
                    <a:lnTo>
                      <a:pt x="591" y="384"/>
                    </a:lnTo>
                    <a:lnTo>
                      <a:pt x="478" y="384"/>
                    </a:lnTo>
                    <a:lnTo>
                      <a:pt x="407" y="379"/>
                    </a:lnTo>
                    <a:lnTo>
                      <a:pt x="340" y="377"/>
                    </a:lnTo>
                    <a:lnTo>
                      <a:pt x="284" y="372"/>
                    </a:lnTo>
                    <a:lnTo>
                      <a:pt x="249" y="369"/>
                    </a:lnTo>
                    <a:lnTo>
                      <a:pt x="208" y="363"/>
                    </a:lnTo>
                    <a:lnTo>
                      <a:pt x="209" y="363"/>
                    </a:lnTo>
                    <a:lnTo>
                      <a:pt x="163" y="351"/>
                    </a:lnTo>
                    <a:lnTo>
                      <a:pt x="125" y="338"/>
                    </a:lnTo>
                    <a:lnTo>
                      <a:pt x="101" y="328"/>
                    </a:lnTo>
                    <a:lnTo>
                      <a:pt x="103" y="330"/>
                    </a:lnTo>
                    <a:lnTo>
                      <a:pt x="76" y="307"/>
                    </a:lnTo>
                    <a:lnTo>
                      <a:pt x="78" y="309"/>
                    </a:lnTo>
                    <a:lnTo>
                      <a:pt x="61" y="283"/>
                    </a:lnTo>
                    <a:lnTo>
                      <a:pt x="47" y="250"/>
                    </a:lnTo>
                    <a:lnTo>
                      <a:pt x="47" y="252"/>
                    </a:lnTo>
                    <a:lnTo>
                      <a:pt x="32" y="199"/>
                    </a:lnTo>
                    <a:lnTo>
                      <a:pt x="33" y="199"/>
                    </a:lnTo>
                    <a:lnTo>
                      <a:pt x="23" y="152"/>
                    </a:lnTo>
                    <a:lnTo>
                      <a:pt x="18" y="105"/>
                    </a:lnTo>
                    <a:lnTo>
                      <a:pt x="17" y="84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253">
                <a:extLst>
                  <a:ext uri="{FF2B5EF4-FFF2-40B4-BE49-F238E27FC236}">
                    <a16:creationId xmlns:a16="http://schemas.microsoft.com/office/drawing/2014/main" id="{734B1F5A-B68A-49E6-A431-78FEE4AAD21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4" y="1291"/>
                <a:ext cx="514" cy="318"/>
              </a:xfrm>
              <a:custGeom>
                <a:avLst/>
                <a:gdLst/>
                <a:ahLst/>
                <a:cxnLst>
                  <a:cxn ang="0">
                    <a:pos x="415" y="261"/>
                  </a:cxn>
                  <a:cxn ang="0">
                    <a:pos x="416" y="261"/>
                  </a:cxn>
                  <a:cxn ang="0">
                    <a:pos x="418" y="259"/>
                  </a:cxn>
                  <a:cxn ang="0">
                    <a:pos x="420" y="259"/>
                  </a:cxn>
                  <a:cxn ang="0">
                    <a:pos x="421" y="258"/>
                  </a:cxn>
                  <a:cxn ang="0">
                    <a:pos x="421" y="256"/>
                  </a:cxn>
                  <a:cxn ang="0">
                    <a:pos x="423" y="255"/>
                  </a:cxn>
                  <a:cxn ang="0">
                    <a:pos x="423" y="253"/>
                  </a:cxn>
                  <a:cxn ang="0">
                    <a:pos x="421" y="251"/>
                  </a:cxn>
                  <a:cxn ang="0">
                    <a:pos x="421" y="250"/>
                  </a:cxn>
                  <a:cxn ang="0">
                    <a:pos x="420" y="248"/>
                  </a:cxn>
                  <a:cxn ang="0">
                    <a:pos x="416" y="248"/>
                  </a:cxn>
                  <a:cxn ang="0">
                    <a:pos x="313" y="233"/>
                  </a:cxn>
                  <a:cxn ang="0">
                    <a:pos x="239" y="219"/>
                  </a:cxn>
                  <a:cxn ang="0">
                    <a:pos x="240" y="219"/>
                  </a:cxn>
                  <a:cxn ang="0">
                    <a:pos x="161" y="199"/>
                  </a:cxn>
                  <a:cxn ang="0">
                    <a:pos x="106" y="183"/>
                  </a:cxn>
                  <a:cxn ang="0">
                    <a:pos x="76" y="175"/>
                  </a:cxn>
                  <a:cxn ang="0">
                    <a:pos x="78" y="175"/>
                  </a:cxn>
                  <a:cxn ang="0">
                    <a:pos x="59" y="165"/>
                  </a:cxn>
                  <a:cxn ang="0">
                    <a:pos x="59" y="167"/>
                  </a:cxn>
                  <a:cxn ang="0">
                    <a:pos x="43" y="153"/>
                  </a:cxn>
                  <a:cxn ang="0">
                    <a:pos x="44" y="153"/>
                  </a:cxn>
                  <a:cxn ang="0">
                    <a:pos x="31" y="137"/>
                  </a:cxn>
                  <a:cxn ang="0">
                    <a:pos x="31" y="139"/>
                  </a:cxn>
                  <a:cxn ang="0">
                    <a:pos x="23" y="113"/>
                  </a:cxn>
                  <a:cxn ang="0">
                    <a:pos x="24" y="114"/>
                  </a:cxn>
                  <a:cxn ang="0">
                    <a:pos x="20" y="90"/>
                  </a:cxn>
                  <a:cxn ang="0">
                    <a:pos x="16" y="52"/>
                  </a:cxn>
                  <a:cxn ang="0">
                    <a:pos x="13" y="5"/>
                  </a:cxn>
                  <a:cxn ang="0">
                    <a:pos x="11" y="3"/>
                  </a:cxn>
                  <a:cxn ang="0">
                    <a:pos x="11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54"/>
                  </a:cxn>
                  <a:cxn ang="0">
                    <a:pos x="6" y="92"/>
                  </a:cxn>
                  <a:cxn ang="0">
                    <a:pos x="11" y="116"/>
                  </a:cxn>
                  <a:cxn ang="0">
                    <a:pos x="11" y="118"/>
                  </a:cxn>
                  <a:cxn ang="0">
                    <a:pos x="20" y="144"/>
                  </a:cxn>
                  <a:cxn ang="0">
                    <a:pos x="21" y="145"/>
                  </a:cxn>
                  <a:cxn ang="0">
                    <a:pos x="34" y="162"/>
                  </a:cxn>
                  <a:cxn ang="0">
                    <a:pos x="34" y="163"/>
                  </a:cxn>
                  <a:cxn ang="0">
                    <a:pos x="51" y="176"/>
                  </a:cxn>
                  <a:cxn ang="0">
                    <a:pos x="53" y="176"/>
                  </a:cxn>
                  <a:cxn ang="0">
                    <a:pos x="71" y="186"/>
                  </a:cxn>
                  <a:cxn ang="0">
                    <a:pos x="73" y="186"/>
                  </a:cxn>
                  <a:cxn ang="0">
                    <a:pos x="103" y="194"/>
                  </a:cxn>
                  <a:cxn ang="0">
                    <a:pos x="101" y="194"/>
                  </a:cxn>
                  <a:cxn ang="0">
                    <a:pos x="156" y="211"/>
                  </a:cxn>
                  <a:cxn ang="0">
                    <a:pos x="157" y="212"/>
                  </a:cxn>
                  <a:cxn ang="0">
                    <a:pos x="237" y="232"/>
                  </a:cxn>
                  <a:cxn ang="0">
                    <a:pos x="312" y="246"/>
                  </a:cxn>
                  <a:cxn ang="0">
                    <a:pos x="415" y="261"/>
                  </a:cxn>
                </a:cxnLst>
                <a:rect l="0" t="0" r="r" b="b"/>
                <a:pathLst>
                  <a:path w="423" h="261">
                    <a:moveTo>
                      <a:pt x="415" y="261"/>
                    </a:moveTo>
                    <a:lnTo>
                      <a:pt x="416" y="261"/>
                    </a:lnTo>
                    <a:lnTo>
                      <a:pt x="418" y="259"/>
                    </a:lnTo>
                    <a:lnTo>
                      <a:pt x="420" y="259"/>
                    </a:lnTo>
                    <a:lnTo>
                      <a:pt x="421" y="258"/>
                    </a:lnTo>
                    <a:lnTo>
                      <a:pt x="421" y="256"/>
                    </a:lnTo>
                    <a:lnTo>
                      <a:pt x="423" y="255"/>
                    </a:lnTo>
                    <a:lnTo>
                      <a:pt x="423" y="253"/>
                    </a:lnTo>
                    <a:lnTo>
                      <a:pt x="421" y="251"/>
                    </a:lnTo>
                    <a:lnTo>
                      <a:pt x="421" y="250"/>
                    </a:lnTo>
                    <a:lnTo>
                      <a:pt x="420" y="248"/>
                    </a:lnTo>
                    <a:lnTo>
                      <a:pt x="416" y="248"/>
                    </a:lnTo>
                    <a:lnTo>
                      <a:pt x="313" y="233"/>
                    </a:lnTo>
                    <a:lnTo>
                      <a:pt x="239" y="219"/>
                    </a:lnTo>
                    <a:lnTo>
                      <a:pt x="240" y="219"/>
                    </a:lnTo>
                    <a:lnTo>
                      <a:pt x="161" y="199"/>
                    </a:lnTo>
                    <a:lnTo>
                      <a:pt x="106" y="183"/>
                    </a:lnTo>
                    <a:lnTo>
                      <a:pt x="76" y="175"/>
                    </a:lnTo>
                    <a:lnTo>
                      <a:pt x="78" y="175"/>
                    </a:lnTo>
                    <a:lnTo>
                      <a:pt x="59" y="165"/>
                    </a:lnTo>
                    <a:lnTo>
                      <a:pt x="59" y="167"/>
                    </a:lnTo>
                    <a:lnTo>
                      <a:pt x="43" y="153"/>
                    </a:lnTo>
                    <a:lnTo>
                      <a:pt x="44" y="153"/>
                    </a:lnTo>
                    <a:lnTo>
                      <a:pt x="31" y="137"/>
                    </a:lnTo>
                    <a:lnTo>
                      <a:pt x="31" y="139"/>
                    </a:lnTo>
                    <a:lnTo>
                      <a:pt x="23" y="113"/>
                    </a:lnTo>
                    <a:lnTo>
                      <a:pt x="24" y="114"/>
                    </a:lnTo>
                    <a:lnTo>
                      <a:pt x="20" y="90"/>
                    </a:lnTo>
                    <a:lnTo>
                      <a:pt x="16" y="52"/>
                    </a:lnTo>
                    <a:lnTo>
                      <a:pt x="13" y="5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54"/>
                    </a:lnTo>
                    <a:lnTo>
                      <a:pt x="6" y="92"/>
                    </a:lnTo>
                    <a:lnTo>
                      <a:pt x="11" y="116"/>
                    </a:lnTo>
                    <a:lnTo>
                      <a:pt x="11" y="118"/>
                    </a:lnTo>
                    <a:lnTo>
                      <a:pt x="20" y="144"/>
                    </a:lnTo>
                    <a:lnTo>
                      <a:pt x="21" y="145"/>
                    </a:lnTo>
                    <a:lnTo>
                      <a:pt x="34" y="162"/>
                    </a:lnTo>
                    <a:lnTo>
                      <a:pt x="34" y="163"/>
                    </a:lnTo>
                    <a:lnTo>
                      <a:pt x="51" y="176"/>
                    </a:lnTo>
                    <a:lnTo>
                      <a:pt x="53" y="176"/>
                    </a:lnTo>
                    <a:lnTo>
                      <a:pt x="71" y="186"/>
                    </a:lnTo>
                    <a:lnTo>
                      <a:pt x="73" y="186"/>
                    </a:lnTo>
                    <a:lnTo>
                      <a:pt x="103" y="194"/>
                    </a:lnTo>
                    <a:lnTo>
                      <a:pt x="101" y="194"/>
                    </a:lnTo>
                    <a:lnTo>
                      <a:pt x="156" y="211"/>
                    </a:lnTo>
                    <a:lnTo>
                      <a:pt x="157" y="212"/>
                    </a:lnTo>
                    <a:lnTo>
                      <a:pt x="237" y="232"/>
                    </a:lnTo>
                    <a:lnTo>
                      <a:pt x="312" y="246"/>
                    </a:lnTo>
                    <a:lnTo>
                      <a:pt x="415" y="26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254">
                <a:extLst>
                  <a:ext uri="{FF2B5EF4-FFF2-40B4-BE49-F238E27FC236}">
                    <a16:creationId xmlns:a16="http://schemas.microsoft.com/office/drawing/2014/main" id="{29F1E3F9-A1B8-4B32-8FCB-EDF8062D144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5" y="1294"/>
                <a:ext cx="510" cy="316"/>
              </a:xfrm>
              <a:custGeom>
                <a:avLst/>
                <a:gdLst/>
                <a:ahLst/>
                <a:cxnLst>
                  <a:cxn ang="0">
                    <a:pos x="412" y="259"/>
                  </a:cxn>
                  <a:cxn ang="0">
                    <a:pos x="413" y="259"/>
                  </a:cxn>
                  <a:cxn ang="0">
                    <a:pos x="415" y="257"/>
                  </a:cxn>
                  <a:cxn ang="0">
                    <a:pos x="417" y="257"/>
                  </a:cxn>
                  <a:cxn ang="0">
                    <a:pos x="418" y="256"/>
                  </a:cxn>
                  <a:cxn ang="0">
                    <a:pos x="418" y="254"/>
                  </a:cxn>
                  <a:cxn ang="0">
                    <a:pos x="420" y="253"/>
                  </a:cxn>
                  <a:cxn ang="0">
                    <a:pos x="420" y="251"/>
                  </a:cxn>
                  <a:cxn ang="0">
                    <a:pos x="418" y="249"/>
                  </a:cxn>
                  <a:cxn ang="0">
                    <a:pos x="418" y="248"/>
                  </a:cxn>
                  <a:cxn ang="0">
                    <a:pos x="417" y="248"/>
                  </a:cxn>
                  <a:cxn ang="0">
                    <a:pos x="415" y="246"/>
                  </a:cxn>
                  <a:cxn ang="0">
                    <a:pos x="413" y="246"/>
                  </a:cxn>
                  <a:cxn ang="0">
                    <a:pos x="294" y="227"/>
                  </a:cxn>
                  <a:cxn ang="0">
                    <a:pos x="295" y="227"/>
                  </a:cxn>
                  <a:cxn ang="0">
                    <a:pos x="202" y="205"/>
                  </a:cxn>
                  <a:cxn ang="0">
                    <a:pos x="149" y="189"/>
                  </a:cxn>
                  <a:cxn ang="0">
                    <a:pos x="103" y="173"/>
                  </a:cxn>
                  <a:cxn ang="0">
                    <a:pos x="73" y="165"/>
                  </a:cxn>
                  <a:cxn ang="0">
                    <a:pos x="56" y="156"/>
                  </a:cxn>
                  <a:cxn ang="0">
                    <a:pos x="58" y="158"/>
                  </a:cxn>
                  <a:cxn ang="0">
                    <a:pos x="45" y="147"/>
                  </a:cxn>
                  <a:cxn ang="0">
                    <a:pos x="46" y="147"/>
                  </a:cxn>
                  <a:cxn ang="0">
                    <a:pos x="31" y="130"/>
                  </a:cxn>
                  <a:cxn ang="0">
                    <a:pos x="31" y="132"/>
                  </a:cxn>
                  <a:cxn ang="0">
                    <a:pos x="23" y="106"/>
                  </a:cxn>
                  <a:cxn ang="0">
                    <a:pos x="25" y="107"/>
                  </a:cxn>
                  <a:cxn ang="0">
                    <a:pos x="17" y="63"/>
                  </a:cxn>
                  <a:cxn ang="0">
                    <a:pos x="13" y="5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65"/>
                  </a:cxn>
                  <a:cxn ang="0">
                    <a:pos x="12" y="109"/>
                  </a:cxn>
                  <a:cxn ang="0">
                    <a:pos x="12" y="111"/>
                  </a:cxn>
                  <a:cxn ang="0">
                    <a:pos x="20" y="137"/>
                  </a:cxn>
                  <a:cxn ang="0">
                    <a:pos x="21" y="138"/>
                  </a:cxn>
                  <a:cxn ang="0">
                    <a:pos x="36" y="155"/>
                  </a:cxn>
                  <a:cxn ang="0">
                    <a:pos x="36" y="156"/>
                  </a:cxn>
                  <a:cxn ang="0">
                    <a:pos x="50" y="168"/>
                  </a:cxn>
                  <a:cxn ang="0">
                    <a:pos x="51" y="168"/>
                  </a:cxn>
                  <a:cxn ang="0">
                    <a:pos x="68" y="176"/>
                  </a:cxn>
                  <a:cxn ang="0">
                    <a:pos x="70" y="176"/>
                  </a:cxn>
                  <a:cxn ang="0">
                    <a:pos x="100" y="184"/>
                  </a:cxn>
                  <a:cxn ang="0">
                    <a:pos x="98" y="184"/>
                  </a:cxn>
                  <a:cxn ang="0">
                    <a:pos x="144" y="200"/>
                  </a:cxn>
                  <a:cxn ang="0">
                    <a:pos x="197" y="217"/>
                  </a:cxn>
                  <a:cxn ang="0">
                    <a:pos x="199" y="218"/>
                  </a:cxn>
                  <a:cxn ang="0">
                    <a:pos x="292" y="240"/>
                  </a:cxn>
                  <a:cxn ang="0">
                    <a:pos x="412" y="259"/>
                  </a:cxn>
                </a:cxnLst>
                <a:rect l="0" t="0" r="r" b="b"/>
                <a:pathLst>
                  <a:path w="420" h="259">
                    <a:moveTo>
                      <a:pt x="412" y="259"/>
                    </a:moveTo>
                    <a:lnTo>
                      <a:pt x="413" y="259"/>
                    </a:lnTo>
                    <a:lnTo>
                      <a:pt x="415" y="257"/>
                    </a:lnTo>
                    <a:lnTo>
                      <a:pt x="417" y="257"/>
                    </a:lnTo>
                    <a:lnTo>
                      <a:pt x="418" y="256"/>
                    </a:lnTo>
                    <a:lnTo>
                      <a:pt x="418" y="254"/>
                    </a:lnTo>
                    <a:lnTo>
                      <a:pt x="420" y="253"/>
                    </a:lnTo>
                    <a:lnTo>
                      <a:pt x="420" y="251"/>
                    </a:lnTo>
                    <a:lnTo>
                      <a:pt x="418" y="249"/>
                    </a:lnTo>
                    <a:lnTo>
                      <a:pt x="418" y="248"/>
                    </a:lnTo>
                    <a:lnTo>
                      <a:pt x="417" y="248"/>
                    </a:lnTo>
                    <a:lnTo>
                      <a:pt x="415" y="246"/>
                    </a:lnTo>
                    <a:lnTo>
                      <a:pt x="413" y="246"/>
                    </a:lnTo>
                    <a:lnTo>
                      <a:pt x="294" y="227"/>
                    </a:lnTo>
                    <a:lnTo>
                      <a:pt x="295" y="227"/>
                    </a:lnTo>
                    <a:lnTo>
                      <a:pt x="202" y="205"/>
                    </a:lnTo>
                    <a:lnTo>
                      <a:pt x="149" y="189"/>
                    </a:lnTo>
                    <a:lnTo>
                      <a:pt x="103" y="173"/>
                    </a:lnTo>
                    <a:lnTo>
                      <a:pt x="73" y="165"/>
                    </a:lnTo>
                    <a:lnTo>
                      <a:pt x="56" y="156"/>
                    </a:lnTo>
                    <a:lnTo>
                      <a:pt x="58" y="158"/>
                    </a:lnTo>
                    <a:lnTo>
                      <a:pt x="45" y="147"/>
                    </a:lnTo>
                    <a:lnTo>
                      <a:pt x="46" y="147"/>
                    </a:lnTo>
                    <a:lnTo>
                      <a:pt x="31" y="130"/>
                    </a:lnTo>
                    <a:lnTo>
                      <a:pt x="31" y="132"/>
                    </a:lnTo>
                    <a:lnTo>
                      <a:pt x="23" y="106"/>
                    </a:lnTo>
                    <a:lnTo>
                      <a:pt x="25" y="107"/>
                    </a:lnTo>
                    <a:lnTo>
                      <a:pt x="17" y="6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5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20" y="137"/>
                    </a:lnTo>
                    <a:lnTo>
                      <a:pt x="21" y="138"/>
                    </a:lnTo>
                    <a:lnTo>
                      <a:pt x="36" y="155"/>
                    </a:lnTo>
                    <a:lnTo>
                      <a:pt x="36" y="156"/>
                    </a:lnTo>
                    <a:lnTo>
                      <a:pt x="50" y="168"/>
                    </a:lnTo>
                    <a:lnTo>
                      <a:pt x="51" y="168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100" y="184"/>
                    </a:lnTo>
                    <a:lnTo>
                      <a:pt x="98" y="184"/>
                    </a:lnTo>
                    <a:lnTo>
                      <a:pt x="144" y="200"/>
                    </a:lnTo>
                    <a:lnTo>
                      <a:pt x="197" y="217"/>
                    </a:lnTo>
                    <a:lnTo>
                      <a:pt x="199" y="218"/>
                    </a:lnTo>
                    <a:lnTo>
                      <a:pt x="292" y="240"/>
                    </a:lnTo>
                    <a:lnTo>
                      <a:pt x="412" y="25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255">
                <a:extLst>
                  <a:ext uri="{FF2B5EF4-FFF2-40B4-BE49-F238E27FC236}">
                    <a16:creationId xmlns:a16="http://schemas.microsoft.com/office/drawing/2014/main" id="{B7D5F1AB-EFBF-41EE-9D58-40B6F3B8F92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2" y="1153"/>
                <a:ext cx="28" cy="184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55"/>
                  </a:cxn>
                  <a:cxn ang="0">
                    <a:pos x="2" y="85"/>
                  </a:cxn>
                  <a:cxn ang="0">
                    <a:pos x="5" y="111"/>
                  </a:cxn>
                  <a:cxn ang="0">
                    <a:pos x="10" y="138"/>
                  </a:cxn>
                  <a:cxn ang="0">
                    <a:pos x="10" y="143"/>
                  </a:cxn>
                  <a:cxn ang="0">
                    <a:pos x="13" y="137"/>
                  </a:cxn>
                  <a:cxn ang="0">
                    <a:pos x="8" y="138"/>
                  </a:cxn>
                  <a:cxn ang="0">
                    <a:pos x="7" y="138"/>
                  </a:cxn>
                  <a:cxn ang="0">
                    <a:pos x="7" y="140"/>
                  </a:cxn>
                  <a:cxn ang="0">
                    <a:pos x="5" y="142"/>
                  </a:cxn>
                  <a:cxn ang="0">
                    <a:pos x="5" y="148"/>
                  </a:cxn>
                  <a:cxn ang="0">
                    <a:pos x="7" y="150"/>
                  </a:cxn>
                  <a:cxn ang="0">
                    <a:pos x="8" y="150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3" y="150"/>
                  </a:cxn>
                  <a:cxn ang="0">
                    <a:pos x="18" y="148"/>
                  </a:cxn>
                  <a:cxn ang="0">
                    <a:pos x="20" y="148"/>
                  </a:cxn>
                  <a:cxn ang="0">
                    <a:pos x="20" y="147"/>
                  </a:cxn>
                  <a:cxn ang="0">
                    <a:pos x="22" y="147"/>
                  </a:cxn>
                  <a:cxn ang="0">
                    <a:pos x="22" y="145"/>
                  </a:cxn>
                  <a:cxn ang="0">
                    <a:pos x="23" y="143"/>
                  </a:cxn>
                  <a:cxn ang="0">
                    <a:pos x="23" y="137"/>
                  </a:cxn>
                  <a:cxn ang="0">
                    <a:pos x="18" y="109"/>
                  </a:cxn>
                  <a:cxn ang="0">
                    <a:pos x="15" y="83"/>
                  </a:cxn>
                  <a:cxn ang="0">
                    <a:pos x="13" y="54"/>
                  </a:cxn>
                  <a:cxn ang="0">
                    <a:pos x="13" y="55"/>
                  </a:cxn>
                  <a:cxn ang="0">
                    <a:pos x="13" y="6"/>
                  </a:cxn>
                </a:cxnLst>
                <a:rect l="0" t="0" r="r" b="b"/>
                <a:pathLst>
                  <a:path w="23" h="151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55"/>
                    </a:lnTo>
                    <a:lnTo>
                      <a:pt x="2" y="85"/>
                    </a:lnTo>
                    <a:lnTo>
                      <a:pt x="5" y="111"/>
                    </a:lnTo>
                    <a:lnTo>
                      <a:pt x="10" y="138"/>
                    </a:lnTo>
                    <a:lnTo>
                      <a:pt x="10" y="143"/>
                    </a:lnTo>
                    <a:lnTo>
                      <a:pt x="13" y="137"/>
                    </a:lnTo>
                    <a:lnTo>
                      <a:pt x="8" y="138"/>
                    </a:lnTo>
                    <a:lnTo>
                      <a:pt x="7" y="138"/>
                    </a:lnTo>
                    <a:lnTo>
                      <a:pt x="7" y="140"/>
                    </a:lnTo>
                    <a:lnTo>
                      <a:pt x="5" y="142"/>
                    </a:lnTo>
                    <a:lnTo>
                      <a:pt x="5" y="148"/>
                    </a:lnTo>
                    <a:lnTo>
                      <a:pt x="7" y="150"/>
                    </a:lnTo>
                    <a:lnTo>
                      <a:pt x="8" y="150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3" y="150"/>
                    </a:lnTo>
                    <a:lnTo>
                      <a:pt x="18" y="148"/>
                    </a:lnTo>
                    <a:lnTo>
                      <a:pt x="20" y="148"/>
                    </a:lnTo>
                    <a:lnTo>
                      <a:pt x="20" y="147"/>
                    </a:lnTo>
                    <a:lnTo>
                      <a:pt x="22" y="147"/>
                    </a:lnTo>
                    <a:lnTo>
                      <a:pt x="22" y="145"/>
                    </a:lnTo>
                    <a:lnTo>
                      <a:pt x="23" y="143"/>
                    </a:lnTo>
                    <a:lnTo>
                      <a:pt x="23" y="137"/>
                    </a:lnTo>
                    <a:lnTo>
                      <a:pt x="18" y="109"/>
                    </a:lnTo>
                    <a:lnTo>
                      <a:pt x="15" y="83"/>
                    </a:lnTo>
                    <a:lnTo>
                      <a:pt x="13" y="54"/>
                    </a:lnTo>
                    <a:lnTo>
                      <a:pt x="13" y="5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256">
                <a:extLst>
                  <a:ext uri="{FF2B5EF4-FFF2-40B4-BE49-F238E27FC236}">
                    <a16:creationId xmlns:a16="http://schemas.microsoft.com/office/drawing/2014/main" id="{F754C848-68AE-43A0-820F-26F6DABF507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90" y="1136"/>
                <a:ext cx="32" cy="201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1" y="70"/>
                  </a:cxn>
                  <a:cxn ang="0">
                    <a:pos x="5" y="101"/>
                  </a:cxn>
                  <a:cxn ang="0">
                    <a:pos x="8" y="134"/>
                  </a:cxn>
                  <a:cxn ang="0">
                    <a:pos x="11" y="152"/>
                  </a:cxn>
                  <a:cxn ang="0">
                    <a:pos x="11" y="153"/>
                  </a:cxn>
                  <a:cxn ang="0">
                    <a:pos x="13" y="160"/>
                  </a:cxn>
                  <a:cxn ang="0">
                    <a:pos x="13" y="162"/>
                  </a:cxn>
                  <a:cxn ang="0">
                    <a:pos x="15" y="162"/>
                  </a:cxn>
                  <a:cxn ang="0">
                    <a:pos x="16" y="163"/>
                  </a:cxn>
                  <a:cxn ang="0">
                    <a:pos x="18" y="163"/>
                  </a:cxn>
                  <a:cxn ang="0">
                    <a:pos x="20" y="165"/>
                  </a:cxn>
                  <a:cxn ang="0">
                    <a:pos x="21" y="165"/>
                  </a:cxn>
                  <a:cxn ang="0">
                    <a:pos x="25" y="162"/>
                  </a:cxn>
                  <a:cxn ang="0">
                    <a:pos x="25" y="160"/>
                  </a:cxn>
                  <a:cxn ang="0">
                    <a:pos x="26" y="158"/>
                  </a:cxn>
                  <a:cxn ang="0">
                    <a:pos x="26" y="157"/>
                  </a:cxn>
                  <a:cxn ang="0">
                    <a:pos x="25" y="150"/>
                  </a:cxn>
                  <a:cxn ang="0">
                    <a:pos x="21" y="132"/>
                  </a:cxn>
                  <a:cxn ang="0">
                    <a:pos x="18" y="100"/>
                  </a:cxn>
                  <a:cxn ang="0">
                    <a:pos x="15" y="69"/>
                  </a:cxn>
                  <a:cxn ang="0">
                    <a:pos x="15" y="70"/>
                  </a:cxn>
                  <a:cxn ang="0">
                    <a:pos x="13" y="7"/>
                  </a:cxn>
                </a:cxnLst>
                <a:rect l="0" t="0" r="r" b="b"/>
                <a:pathLst>
                  <a:path w="26" h="165">
                    <a:moveTo>
                      <a:pt x="13" y="7"/>
                    </a:moveTo>
                    <a:lnTo>
                      <a:pt x="11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1" y="70"/>
                    </a:lnTo>
                    <a:lnTo>
                      <a:pt x="5" y="101"/>
                    </a:lnTo>
                    <a:lnTo>
                      <a:pt x="8" y="134"/>
                    </a:lnTo>
                    <a:lnTo>
                      <a:pt x="11" y="152"/>
                    </a:lnTo>
                    <a:lnTo>
                      <a:pt x="11" y="153"/>
                    </a:lnTo>
                    <a:lnTo>
                      <a:pt x="13" y="160"/>
                    </a:lnTo>
                    <a:lnTo>
                      <a:pt x="13" y="162"/>
                    </a:lnTo>
                    <a:lnTo>
                      <a:pt x="15" y="162"/>
                    </a:lnTo>
                    <a:lnTo>
                      <a:pt x="16" y="163"/>
                    </a:lnTo>
                    <a:lnTo>
                      <a:pt x="18" y="163"/>
                    </a:lnTo>
                    <a:lnTo>
                      <a:pt x="20" y="165"/>
                    </a:lnTo>
                    <a:lnTo>
                      <a:pt x="21" y="165"/>
                    </a:lnTo>
                    <a:lnTo>
                      <a:pt x="25" y="162"/>
                    </a:lnTo>
                    <a:lnTo>
                      <a:pt x="25" y="160"/>
                    </a:lnTo>
                    <a:lnTo>
                      <a:pt x="26" y="158"/>
                    </a:lnTo>
                    <a:lnTo>
                      <a:pt x="26" y="157"/>
                    </a:lnTo>
                    <a:lnTo>
                      <a:pt x="25" y="150"/>
                    </a:lnTo>
                    <a:lnTo>
                      <a:pt x="21" y="132"/>
                    </a:lnTo>
                    <a:lnTo>
                      <a:pt x="18" y="100"/>
                    </a:lnTo>
                    <a:lnTo>
                      <a:pt x="15" y="69"/>
                    </a:lnTo>
                    <a:lnTo>
                      <a:pt x="15" y="70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257">
                <a:extLst>
                  <a:ext uri="{FF2B5EF4-FFF2-40B4-BE49-F238E27FC236}">
                    <a16:creationId xmlns:a16="http://schemas.microsoft.com/office/drawing/2014/main" id="{11A127C2-EE0C-4BD5-9AA5-D5EB2504F48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9" y="1133"/>
                <a:ext cx="36" cy="195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4" y="67"/>
                  </a:cxn>
                  <a:cxn ang="0">
                    <a:pos x="5" y="93"/>
                  </a:cxn>
                  <a:cxn ang="0">
                    <a:pos x="10" y="126"/>
                  </a:cxn>
                  <a:cxn ang="0">
                    <a:pos x="10" y="128"/>
                  </a:cxn>
                  <a:cxn ang="0">
                    <a:pos x="17" y="155"/>
                  </a:cxn>
                  <a:cxn ang="0">
                    <a:pos x="17" y="157"/>
                  </a:cxn>
                  <a:cxn ang="0">
                    <a:pos x="18" y="157"/>
                  </a:cxn>
                  <a:cxn ang="0">
                    <a:pos x="22" y="160"/>
                  </a:cxn>
                  <a:cxn ang="0">
                    <a:pos x="25" y="160"/>
                  </a:cxn>
                  <a:cxn ang="0">
                    <a:pos x="28" y="157"/>
                  </a:cxn>
                  <a:cxn ang="0">
                    <a:pos x="28" y="155"/>
                  </a:cxn>
                  <a:cxn ang="0">
                    <a:pos x="30" y="154"/>
                  </a:cxn>
                  <a:cxn ang="0">
                    <a:pos x="30" y="152"/>
                  </a:cxn>
                  <a:cxn ang="0">
                    <a:pos x="23" y="124"/>
                  </a:cxn>
                  <a:cxn ang="0">
                    <a:pos x="18" y="92"/>
                  </a:cxn>
                  <a:cxn ang="0">
                    <a:pos x="17" y="66"/>
                  </a:cxn>
                  <a:cxn ang="0">
                    <a:pos x="13" y="5"/>
                  </a:cxn>
                </a:cxnLst>
                <a:rect l="0" t="0" r="r" b="b"/>
                <a:pathLst>
                  <a:path w="30" h="160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67"/>
                    </a:lnTo>
                    <a:lnTo>
                      <a:pt x="5" y="93"/>
                    </a:lnTo>
                    <a:lnTo>
                      <a:pt x="10" y="126"/>
                    </a:lnTo>
                    <a:lnTo>
                      <a:pt x="10" y="128"/>
                    </a:lnTo>
                    <a:lnTo>
                      <a:pt x="17" y="155"/>
                    </a:lnTo>
                    <a:lnTo>
                      <a:pt x="17" y="157"/>
                    </a:lnTo>
                    <a:lnTo>
                      <a:pt x="18" y="157"/>
                    </a:lnTo>
                    <a:lnTo>
                      <a:pt x="22" y="160"/>
                    </a:lnTo>
                    <a:lnTo>
                      <a:pt x="25" y="160"/>
                    </a:lnTo>
                    <a:lnTo>
                      <a:pt x="28" y="157"/>
                    </a:lnTo>
                    <a:lnTo>
                      <a:pt x="28" y="155"/>
                    </a:lnTo>
                    <a:lnTo>
                      <a:pt x="30" y="154"/>
                    </a:lnTo>
                    <a:lnTo>
                      <a:pt x="30" y="152"/>
                    </a:lnTo>
                    <a:lnTo>
                      <a:pt x="23" y="124"/>
                    </a:lnTo>
                    <a:lnTo>
                      <a:pt x="18" y="92"/>
                    </a:lnTo>
                    <a:lnTo>
                      <a:pt x="17" y="66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258">
                <a:extLst>
                  <a:ext uri="{FF2B5EF4-FFF2-40B4-BE49-F238E27FC236}">
                    <a16:creationId xmlns:a16="http://schemas.microsoft.com/office/drawing/2014/main" id="{A112EE54-1568-4ABF-BC4A-0922ECB4ADD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78" y="1136"/>
                <a:ext cx="46" cy="179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41"/>
                  </a:cxn>
                  <a:cxn ang="0">
                    <a:pos x="5" y="77"/>
                  </a:cxn>
                  <a:cxn ang="0">
                    <a:pos x="8" y="101"/>
                  </a:cxn>
                  <a:cxn ang="0">
                    <a:pos x="8" y="103"/>
                  </a:cxn>
                  <a:cxn ang="0">
                    <a:pos x="13" y="121"/>
                  </a:cxn>
                  <a:cxn ang="0">
                    <a:pos x="18" y="132"/>
                  </a:cxn>
                  <a:cxn ang="0">
                    <a:pos x="18" y="134"/>
                  </a:cxn>
                  <a:cxn ang="0">
                    <a:pos x="25" y="144"/>
                  </a:cxn>
                  <a:cxn ang="0">
                    <a:pos x="26" y="145"/>
                  </a:cxn>
                  <a:cxn ang="0">
                    <a:pos x="28" y="145"/>
                  </a:cxn>
                  <a:cxn ang="0">
                    <a:pos x="30" y="147"/>
                  </a:cxn>
                  <a:cxn ang="0">
                    <a:pos x="31" y="147"/>
                  </a:cxn>
                  <a:cxn ang="0">
                    <a:pos x="33" y="145"/>
                  </a:cxn>
                  <a:cxn ang="0">
                    <a:pos x="35" y="145"/>
                  </a:cxn>
                  <a:cxn ang="0">
                    <a:pos x="36" y="144"/>
                  </a:cxn>
                  <a:cxn ang="0">
                    <a:pos x="36" y="142"/>
                  </a:cxn>
                  <a:cxn ang="0">
                    <a:pos x="38" y="140"/>
                  </a:cxn>
                  <a:cxn ang="0">
                    <a:pos x="38" y="139"/>
                  </a:cxn>
                  <a:cxn ang="0">
                    <a:pos x="36" y="137"/>
                  </a:cxn>
                  <a:cxn ang="0">
                    <a:pos x="36" y="136"/>
                  </a:cxn>
                  <a:cxn ang="0">
                    <a:pos x="30" y="126"/>
                  </a:cxn>
                  <a:cxn ang="0">
                    <a:pos x="30" y="127"/>
                  </a:cxn>
                  <a:cxn ang="0">
                    <a:pos x="25" y="116"/>
                  </a:cxn>
                  <a:cxn ang="0">
                    <a:pos x="25" y="118"/>
                  </a:cxn>
                  <a:cxn ang="0">
                    <a:pos x="20" y="100"/>
                  </a:cxn>
                  <a:cxn ang="0">
                    <a:pos x="21" y="100"/>
                  </a:cxn>
                  <a:cxn ang="0">
                    <a:pos x="18" y="75"/>
                  </a:cxn>
                  <a:cxn ang="0">
                    <a:pos x="16" y="39"/>
                  </a:cxn>
                  <a:cxn ang="0">
                    <a:pos x="13" y="5"/>
                  </a:cxn>
                </a:cxnLst>
                <a:rect l="0" t="0" r="r" b="b"/>
                <a:pathLst>
                  <a:path w="38" h="147">
                    <a:moveTo>
                      <a:pt x="13" y="5"/>
                    </a:move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41"/>
                    </a:lnTo>
                    <a:lnTo>
                      <a:pt x="5" y="77"/>
                    </a:lnTo>
                    <a:lnTo>
                      <a:pt x="8" y="101"/>
                    </a:lnTo>
                    <a:lnTo>
                      <a:pt x="8" y="103"/>
                    </a:lnTo>
                    <a:lnTo>
                      <a:pt x="13" y="121"/>
                    </a:lnTo>
                    <a:lnTo>
                      <a:pt x="18" y="132"/>
                    </a:lnTo>
                    <a:lnTo>
                      <a:pt x="18" y="134"/>
                    </a:lnTo>
                    <a:lnTo>
                      <a:pt x="25" y="144"/>
                    </a:lnTo>
                    <a:lnTo>
                      <a:pt x="26" y="145"/>
                    </a:lnTo>
                    <a:lnTo>
                      <a:pt x="28" y="145"/>
                    </a:lnTo>
                    <a:lnTo>
                      <a:pt x="30" y="147"/>
                    </a:lnTo>
                    <a:lnTo>
                      <a:pt x="31" y="147"/>
                    </a:lnTo>
                    <a:lnTo>
                      <a:pt x="33" y="145"/>
                    </a:lnTo>
                    <a:lnTo>
                      <a:pt x="35" y="145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38" y="140"/>
                    </a:lnTo>
                    <a:lnTo>
                      <a:pt x="38" y="139"/>
                    </a:lnTo>
                    <a:lnTo>
                      <a:pt x="36" y="137"/>
                    </a:lnTo>
                    <a:lnTo>
                      <a:pt x="36" y="136"/>
                    </a:lnTo>
                    <a:lnTo>
                      <a:pt x="30" y="126"/>
                    </a:lnTo>
                    <a:lnTo>
                      <a:pt x="30" y="127"/>
                    </a:lnTo>
                    <a:lnTo>
                      <a:pt x="25" y="116"/>
                    </a:lnTo>
                    <a:lnTo>
                      <a:pt x="25" y="118"/>
                    </a:lnTo>
                    <a:lnTo>
                      <a:pt x="20" y="100"/>
                    </a:lnTo>
                    <a:lnTo>
                      <a:pt x="21" y="100"/>
                    </a:lnTo>
                    <a:lnTo>
                      <a:pt x="18" y="75"/>
                    </a:lnTo>
                    <a:lnTo>
                      <a:pt x="16" y="39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259">
                <a:extLst>
                  <a:ext uri="{FF2B5EF4-FFF2-40B4-BE49-F238E27FC236}">
                    <a16:creationId xmlns:a16="http://schemas.microsoft.com/office/drawing/2014/main" id="{ED841956-F74A-4FC3-AEBE-71EEB35694D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9" y="1478"/>
                <a:ext cx="23" cy="2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7" y="19"/>
                  </a:cxn>
                  <a:cxn ang="0">
                    <a:pos x="9" y="19"/>
                  </a:cxn>
                  <a:cxn ang="0">
                    <a:pos x="10" y="21"/>
                  </a:cxn>
                  <a:cxn ang="0">
                    <a:pos x="12" y="21"/>
                  </a:cxn>
                  <a:cxn ang="0">
                    <a:pos x="14" y="19"/>
                  </a:cxn>
                  <a:cxn ang="0">
                    <a:pos x="15" y="19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7" y="13"/>
                  </a:cxn>
                  <a:cxn ang="0">
                    <a:pos x="17" y="11"/>
                  </a:cxn>
                  <a:cxn ang="0">
                    <a:pos x="12" y="3"/>
                  </a:cxn>
                </a:cxnLst>
                <a:rect l="0" t="0" r="r" b="b"/>
                <a:pathLst>
                  <a:path w="19" h="21">
                    <a:moveTo>
                      <a:pt x="12" y="3"/>
                    </a:moveTo>
                    <a:lnTo>
                      <a:pt x="10" y="1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5" y="17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0" y="21"/>
                    </a:lnTo>
                    <a:lnTo>
                      <a:pt x="12" y="21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260">
                <a:extLst>
                  <a:ext uri="{FF2B5EF4-FFF2-40B4-BE49-F238E27FC236}">
                    <a16:creationId xmlns:a16="http://schemas.microsoft.com/office/drawing/2014/main" id="{E345871B-4A93-4501-95D2-C95BE8B6A8F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1" y="1373"/>
                <a:ext cx="623" cy="316"/>
              </a:xfrm>
              <a:custGeom>
                <a:avLst/>
                <a:gdLst/>
                <a:ahLst/>
                <a:cxnLst>
                  <a:cxn ang="0">
                    <a:pos x="507" y="259"/>
                  </a:cxn>
                  <a:cxn ang="0">
                    <a:pos x="510" y="257"/>
                  </a:cxn>
                  <a:cxn ang="0">
                    <a:pos x="512" y="254"/>
                  </a:cxn>
                  <a:cxn ang="0">
                    <a:pos x="513" y="251"/>
                  </a:cxn>
                  <a:cxn ang="0">
                    <a:pos x="512" y="248"/>
                  </a:cxn>
                  <a:cxn ang="0">
                    <a:pos x="508" y="246"/>
                  </a:cxn>
                  <a:cxn ang="0">
                    <a:pos x="477" y="240"/>
                  </a:cxn>
                  <a:cxn ang="0">
                    <a:pos x="347" y="228"/>
                  </a:cxn>
                  <a:cxn ang="0">
                    <a:pos x="221" y="227"/>
                  </a:cxn>
                  <a:cxn ang="0">
                    <a:pos x="151" y="215"/>
                  </a:cxn>
                  <a:cxn ang="0">
                    <a:pos x="135" y="210"/>
                  </a:cxn>
                  <a:cxn ang="0">
                    <a:pos x="103" y="196"/>
                  </a:cxn>
                  <a:cxn ang="0">
                    <a:pos x="78" y="182"/>
                  </a:cxn>
                  <a:cxn ang="0">
                    <a:pos x="68" y="173"/>
                  </a:cxn>
                  <a:cxn ang="0">
                    <a:pos x="47" y="132"/>
                  </a:cxn>
                  <a:cxn ang="0">
                    <a:pos x="33" y="103"/>
                  </a:cxn>
                  <a:cxn ang="0">
                    <a:pos x="25" y="68"/>
                  </a:cxn>
                  <a:cxn ang="0">
                    <a:pos x="15" y="13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2" y="16"/>
                  </a:cxn>
                  <a:cxn ang="0">
                    <a:pos x="7" y="34"/>
                  </a:cxn>
                  <a:cxn ang="0">
                    <a:pos x="12" y="72"/>
                  </a:cxn>
                  <a:cxn ang="0">
                    <a:pos x="35" y="137"/>
                  </a:cxn>
                  <a:cxn ang="0">
                    <a:pos x="57" y="178"/>
                  </a:cxn>
                  <a:cxn ang="0">
                    <a:pos x="58" y="179"/>
                  </a:cxn>
                  <a:cxn ang="0">
                    <a:pos x="96" y="207"/>
                  </a:cxn>
                  <a:cxn ang="0">
                    <a:pos x="131" y="222"/>
                  </a:cxn>
                  <a:cxn ang="0">
                    <a:pos x="150" y="228"/>
                  </a:cxn>
                  <a:cxn ang="0">
                    <a:pos x="219" y="240"/>
                  </a:cxn>
                  <a:cxn ang="0">
                    <a:pos x="347" y="241"/>
                  </a:cxn>
                  <a:cxn ang="0">
                    <a:pos x="415" y="248"/>
                  </a:cxn>
                  <a:cxn ang="0">
                    <a:pos x="505" y="259"/>
                  </a:cxn>
                </a:cxnLst>
                <a:rect l="0" t="0" r="r" b="b"/>
                <a:pathLst>
                  <a:path w="513" h="259">
                    <a:moveTo>
                      <a:pt x="505" y="259"/>
                    </a:moveTo>
                    <a:lnTo>
                      <a:pt x="507" y="259"/>
                    </a:lnTo>
                    <a:lnTo>
                      <a:pt x="508" y="257"/>
                    </a:lnTo>
                    <a:lnTo>
                      <a:pt x="510" y="257"/>
                    </a:lnTo>
                    <a:lnTo>
                      <a:pt x="512" y="256"/>
                    </a:lnTo>
                    <a:lnTo>
                      <a:pt x="512" y="254"/>
                    </a:lnTo>
                    <a:lnTo>
                      <a:pt x="513" y="253"/>
                    </a:lnTo>
                    <a:lnTo>
                      <a:pt x="513" y="251"/>
                    </a:lnTo>
                    <a:lnTo>
                      <a:pt x="512" y="249"/>
                    </a:lnTo>
                    <a:lnTo>
                      <a:pt x="512" y="248"/>
                    </a:lnTo>
                    <a:lnTo>
                      <a:pt x="510" y="248"/>
                    </a:lnTo>
                    <a:lnTo>
                      <a:pt x="508" y="246"/>
                    </a:lnTo>
                    <a:lnTo>
                      <a:pt x="507" y="246"/>
                    </a:lnTo>
                    <a:lnTo>
                      <a:pt x="477" y="240"/>
                    </a:lnTo>
                    <a:lnTo>
                      <a:pt x="417" y="235"/>
                    </a:lnTo>
                    <a:lnTo>
                      <a:pt x="347" y="228"/>
                    </a:lnTo>
                    <a:lnTo>
                      <a:pt x="279" y="227"/>
                    </a:lnTo>
                    <a:lnTo>
                      <a:pt x="221" y="227"/>
                    </a:lnTo>
                    <a:lnTo>
                      <a:pt x="181" y="222"/>
                    </a:lnTo>
                    <a:lnTo>
                      <a:pt x="151" y="215"/>
                    </a:lnTo>
                    <a:lnTo>
                      <a:pt x="153" y="215"/>
                    </a:lnTo>
                    <a:lnTo>
                      <a:pt x="135" y="210"/>
                    </a:lnTo>
                    <a:lnTo>
                      <a:pt x="101" y="196"/>
                    </a:lnTo>
                    <a:lnTo>
                      <a:pt x="103" y="196"/>
                    </a:lnTo>
                    <a:lnTo>
                      <a:pt x="78" y="181"/>
                    </a:lnTo>
                    <a:lnTo>
                      <a:pt x="78" y="182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63" y="163"/>
                    </a:lnTo>
                    <a:lnTo>
                      <a:pt x="47" y="132"/>
                    </a:lnTo>
                    <a:lnTo>
                      <a:pt x="33" y="101"/>
                    </a:lnTo>
                    <a:lnTo>
                      <a:pt x="33" y="103"/>
                    </a:lnTo>
                    <a:lnTo>
                      <a:pt x="23" y="68"/>
                    </a:lnTo>
                    <a:lnTo>
                      <a:pt x="25" y="68"/>
                    </a:lnTo>
                    <a:lnTo>
                      <a:pt x="20" y="32"/>
                    </a:lnTo>
                    <a:lnTo>
                      <a:pt x="15" y="1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7" y="36"/>
                    </a:lnTo>
                    <a:lnTo>
                      <a:pt x="7" y="34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22" y="106"/>
                    </a:lnTo>
                    <a:lnTo>
                      <a:pt x="35" y="137"/>
                    </a:lnTo>
                    <a:lnTo>
                      <a:pt x="52" y="168"/>
                    </a:lnTo>
                    <a:lnTo>
                      <a:pt x="57" y="178"/>
                    </a:lnTo>
                    <a:lnTo>
                      <a:pt x="57" y="179"/>
                    </a:lnTo>
                    <a:lnTo>
                      <a:pt x="58" y="179"/>
                    </a:lnTo>
                    <a:lnTo>
                      <a:pt x="72" y="192"/>
                    </a:lnTo>
                    <a:lnTo>
                      <a:pt x="96" y="207"/>
                    </a:lnTo>
                    <a:lnTo>
                      <a:pt x="130" y="222"/>
                    </a:lnTo>
                    <a:lnTo>
                      <a:pt x="131" y="222"/>
                    </a:lnTo>
                    <a:lnTo>
                      <a:pt x="150" y="227"/>
                    </a:lnTo>
                    <a:lnTo>
                      <a:pt x="150" y="228"/>
                    </a:lnTo>
                    <a:lnTo>
                      <a:pt x="179" y="235"/>
                    </a:lnTo>
                    <a:lnTo>
                      <a:pt x="219" y="240"/>
                    </a:lnTo>
                    <a:lnTo>
                      <a:pt x="279" y="240"/>
                    </a:lnTo>
                    <a:lnTo>
                      <a:pt x="347" y="241"/>
                    </a:lnTo>
                    <a:lnTo>
                      <a:pt x="346" y="241"/>
                    </a:lnTo>
                    <a:lnTo>
                      <a:pt x="415" y="248"/>
                    </a:lnTo>
                    <a:lnTo>
                      <a:pt x="475" y="253"/>
                    </a:lnTo>
                    <a:lnTo>
                      <a:pt x="505" y="25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261">
                <a:extLst>
                  <a:ext uri="{FF2B5EF4-FFF2-40B4-BE49-F238E27FC236}">
                    <a16:creationId xmlns:a16="http://schemas.microsoft.com/office/drawing/2014/main" id="{BAC7AA0A-D008-46AA-AB4C-86365FB9AE6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6" y="1532"/>
                <a:ext cx="730" cy="214"/>
              </a:xfrm>
              <a:custGeom>
                <a:avLst/>
                <a:gdLst/>
                <a:ahLst/>
                <a:cxnLst>
                  <a:cxn ang="0">
                    <a:pos x="594" y="175"/>
                  </a:cxn>
                  <a:cxn ang="0">
                    <a:pos x="596" y="173"/>
                  </a:cxn>
                  <a:cxn ang="0">
                    <a:pos x="598" y="173"/>
                  </a:cxn>
                  <a:cxn ang="0">
                    <a:pos x="598" y="172"/>
                  </a:cxn>
                  <a:cxn ang="0">
                    <a:pos x="599" y="172"/>
                  </a:cxn>
                  <a:cxn ang="0">
                    <a:pos x="599" y="170"/>
                  </a:cxn>
                  <a:cxn ang="0">
                    <a:pos x="601" y="168"/>
                  </a:cxn>
                  <a:cxn ang="0">
                    <a:pos x="599" y="167"/>
                  </a:cxn>
                  <a:cxn ang="0">
                    <a:pos x="599" y="165"/>
                  </a:cxn>
                  <a:cxn ang="0">
                    <a:pos x="598" y="163"/>
                  </a:cxn>
                  <a:cxn ang="0">
                    <a:pos x="598" y="162"/>
                  </a:cxn>
                  <a:cxn ang="0">
                    <a:pos x="433" y="162"/>
                  </a:cxn>
                  <a:cxn ang="0">
                    <a:pos x="380" y="159"/>
                  </a:cxn>
                  <a:cxn ang="0">
                    <a:pos x="314" y="155"/>
                  </a:cxn>
                  <a:cxn ang="0">
                    <a:pos x="231" y="149"/>
                  </a:cxn>
                  <a:cxn ang="0">
                    <a:pos x="181" y="144"/>
                  </a:cxn>
                  <a:cxn ang="0">
                    <a:pos x="128" y="136"/>
                  </a:cxn>
                  <a:cxn ang="0">
                    <a:pos x="111" y="132"/>
                  </a:cxn>
                  <a:cxn ang="0">
                    <a:pos x="115" y="132"/>
                  </a:cxn>
                  <a:cxn ang="0">
                    <a:pos x="83" y="114"/>
                  </a:cxn>
                  <a:cxn ang="0">
                    <a:pos x="60" y="98"/>
                  </a:cxn>
                  <a:cxn ang="0">
                    <a:pos x="61" y="100"/>
                  </a:cxn>
                  <a:cxn ang="0">
                    <a:pos x="43" y="80"/>
                  </a:cxn>
                  <a:cxn ang="0">
                    <a:pos x="28" y="59"/>
                  </a:cxn>
                  <a:cxn ang="0">
                    <a:pos x="28" y="61"/>
                  </a:cxn>
                  <a:cxn ang="0">
                    <a:pos x="17" y="26"/>
                  </a:cxn>
                  <a:cxn ang="0">
                    <a:pos x="18" y="28"/>
                  </a:cxn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7"/>
                  </a:cxn>
                  <a:cxn ang="0">
                    <a:pos x="5" y="30"/>
                  </a:cxn>
                  <a:cxn ang="0">
                    <a:pos x="5" y="31"/>
                  </a:cxn>
                  <a:cxn ang="0">
                    <a:pos x="17" y="66"/>
                  </a:cxn>
                  <a:cxn ang="0">
                    <a:pos x="17" y="67"/>
                  </a:cxn>
                  <a:cxn ang="0">
                    <a:pos x="32" y="88"/>
                  </a:cxn>
                  <a:cxn ang="0">
                    <a:pos x="33" y="88"/>
                  </a:cxn>
                  <a:cxn ang="0">
                    <a:pos x="51" y="108"/>
                  </a:cxn>
                  <a:cxn ang="0">
                    <a:pos x="51" y="110"/>
                  </a:cxn>
                  <a:cxn ang="0">
                    <a:pos x="75" y="126"/>
                  </a:cxn>
                  <a:cxn ang="0">
                    <a:pos x="76" y="126"/>
                  </a:cxn>
                  <a:cxn ang="0">
                    <a:pos x="108" y="144"/>
                  </a:cxn>
                  <a:cxn ang="0">
                    <a:pos x="110" y="145"/>
                  </a:cxn>
                  <a:cxn ang="0">
                    <a:pos x="126" y="149"/>
                  </a:cxn>
                  <a:cxn ang="0">
                    <a:pos x="179" y="157"/>
                  </a:cxn>
                  <a:cxn ang="0">
                    <a:pos x="229" y="162"/>
                  </a:cxn>
                  <a:cxn ang="0">
                    <a:pos x="312" y="168"/>
                  </a:cxn>
                  <a:cxn ang="0">
                    <a:pos x="379" y="172"/>
                  </a:cxn>
                  <a:cxn ang="0">
                    <a:pos x="432" y="175"/>
                  </a:cxn>
                  <a:cxn ang="0">
                    <a:pos x="433" y="175"/>
                  </a:cxn>
                  <a:cxn ang="0">
                    <a:pos x="594" y="175"/>
                  </a:cxn>
                </a:cxnLst>
                <a:rect l="0" t="0" r="r" b="b"/>
                <a:pathLst>
                  <a:path w="601" h="175">
                    <a:moveTo>
                      <a:pt x="594" y="175"/>
                    </a:moveTo>
                    <a:lnTo>
                      <a:pt x="596" y="173"/>
                    </a:lnTo>
                    <a:lnTo>
                      <a:pt x="598" y="173"/>
                    </a:lnTo>
                    <a:lnTo>
                      <a:pt x="598" y="172"/>
                    </a:lnTo>
                    <a:lnTo>
                      <a:pt x="599" y="172"/>
                    </a:lnTo>
                    <a:lnTo>
                      <a:pt x="599" y="170"/>
                    </a:lnTo>
                    <a:lnTo>
                      <a:pt x="601" y="168"/>
                    </a:lnTo>
                    <a:lnTo>
                      <a:pt x="599" y="167"/>
                    </a:lnTo>
                    <a:lnTo>
                      <a:pt x="599" y="165"/>
                    </a:lnTo>
                    <a:lnTo>
                      <a:pt x="598" y="163"/>
                    </a:lnTo>
                    <a:lnTo>
                      <a:pt x="598" y="162"/>
                    </a:lnTo>
                    <a:lnTo>
                      <a:pt x="433" y="162"/>
                    </a:lnTo>
                    <a:lnTo>
                      <a:pt x="380" y="159"/>
                    </a:lnTo>
                    <a:lnTo>
                      <a:pt x="314" y="155"/>
                    </a:lnTo>
                    <a:lnTo>
                      <a:pt x="231" y="149"/>
                    </a:lnTo>
                    <a:lnTo>
                      <a:pt x="181" y="144"/>
                    </a:lnTo>
                    <a:lnTo>
                      <a:pt x="128" y="136"/>
                    </a:lnTo>
                    <a:lnTo>
                      <a:pt x="111" y="132"/>
                    </a:lnTo>
                    <a:lnTo>
                      <a:pt x="115" y="132"/>
                    </a:lnTo>
                    <a:lnTo>
                      <a:pt x="83" y="114"/>
                    </a:lnTo>
                    <a:lnTo>
                      <a:pt x="60" y="98"/>
                    </a:lnTo>
                    <a:lnTo>
                      <a:pt x="61" y="100"/>
                    </a:lnTo>
                    <a:lnTo>
                      <a:pt x="43" y="80"/>
                    </a:lnTo>
                    <a:lnTo>
                      <a:pt x="28" y="59"/>
                    </a:lnTo>
                    <a:lnTo>
                      <a:pt x="28" y="61"/>
                    </a:lnTo>
                    <a:lnTo>
                      <a:pt x="17" y="26"/>
                    </a:lnTo>
                    <a:lnTo>
                      <a:pt x="18" y="28"/>
                    </a:lnTo>
                    <a:lnTo>
                      <a:pt x="13" y="5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5" y="30"/>
                    </a:lnTo>
                    <a:lnTo>
                      <a:pt x="5" y="31"/>
                    </a:lnTo>
                    <a:lnTo>
                      <a:pt x="17" y="66"/>
                    </a:lnTo>
                    <a:lnTo>
                      <a:pt x="17" y="67"/>
                    </a:lnTo>
                    <a:lnTo>
                      <a:pt x="32" y="88"/>
                    </a:lnTo>
                    <a:lnTo>
                      <a:pt x="33" y="88"/>
                    </a:lnTo>
                    <a:lnTo>
                      <a:pt x="51" y="108"/>
                    </a:lnTo>
                    <a:lnTo>
                      <a:pt x="51" y="110"/>
                    </a:lnTo>
                    <a:lnTo>
                      <a:pt x="75" y="126"/>
                    </a:lnTo>
                    <a:lnTo>
                      <a:pt x="76" y="126"/>
                    </a:lnTo>
                    <a:lnTo>
                      <a:pt x="108" y="144"/>
                    </a:lnTo>
                    <a:lnTo>
                      <a:pt x="110" y="145"/>
                    </a:lnTo>
                    <a:lnTo>
                      <a:pt x="126" y="149"/>
                    </a:lnTo>
                    <a:lnTo>
                      <a:pt x="179" y="157"/>
                    </a:lnTo>
                    <a:lnTo>
                      <a:pt x="229" y="162"/>
                    </a:lnTo>
                    <a:lnTo>
                      <a:pt x="312" y="168"/>
                    </a:lnTo>
                    <a:lnTo>
                      <a:pt x="379" y="172"/>
                    </a:lnTo>
                    <a:lnTo>
                      <a:pt x="432" y="175"/>
                    </a:lnTo>
                    <a:lnTo>
                      <a:pt x="433" y="175"/>
                    </a:lnTo>
                    <a:lnTo>
                      <a:pt x="594" y="17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262">
                <a:extLst>
                  <a:ext uri="{FF2B5EF4-FFF2-40B4-BE49-F238E27FC236}">
                    <a16:creationId xmlns:a16="http://schemas.microsoft.com/office/drawing/2014/main" id="{538B773A-C81E-43B1-A857-15FD7DE29D0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4" y="1696"/>
                <a:ext cx="436" cy="44"/>
              </a:xfrm>
              <a:custGeom>
                <a:avLst/>
                <a:gdLst/>
                <a:ahLst/>
                <a:cxnLst>
                  <a:cxn ang="0">
                    <a:pos x="349" y="36"/>
                  </a:cxn>
                  <a:cxn ang="0">
                    <a:pos x="350" y="36"/>
                  </a:cxn>
                  <a:cxn ang="0">
                    <a:pos x="354" y="33"/>
                  </a:cxn>
                  <a:cxn ang="0">
                    <a:pos x="354" y="31"/>
                  </a:cxn>
                  <a:cxn ang="0">
                    <a:pos x="355" y="30"/>
                  </a:cxn>
                  <a:cxn ang="0">
                    <a:pos x="355" y="28"/>
                  </a:cxn>
                  <a:cxn ang="0">
                    <a:pos x="354" y="26"/>
                  </a:cxn>
                  <a:cxn ang="0">
                    <a:pos x="354" y="25"/>
                  </a:cxn>
                  <a:cxn ang="0">
                    <a:pos x="352" y="23"/>
                  </a:cxn>
                  <a:cxn ang="0">
                    <a:pos x="349" y="23"/>
                  </a:cxn>
                  <a:cxn ang="0">
                    <a:pos x="272" y="22"/>
                  </a:cxn>
                  <a:cxn ang="0">
                    <a:pos x="176" y="17"/>
                  </a:cxn>
                  <a:cxn ang="0">
                    <a:pos x="90" y="9"/>
                  </a:cxn>
                  <a:cxn ang="0">
                    <a:pos x="7" y="0"/>
                  </a:cxn>
                  <a:cxn ang="0">
                    <a:pos x="5" y="13"/>
                  </a:cxn>
                  <a:cxn ang="0">
                    <a:pos x="184" y="28"/>
                  </a:cxn>
                  <a:cxn ang="0">
                    <a:pos x="226" y="28"/>
                  </a:cxn>
                  <a:cxn ang="0">
                    <a:pos x="224" y="28"/>
                  </a:cxn>
                  <a:cxn ang="0">
                    <a:pos x="274" y="30"/>
                  </a:cxn>
                  <a:cxn ang="0">
                    <a:pos x="276" y="30"/>
                  </a:cxn>
                  <a:cxn ang="0">
                    <a:pos x="352" y="31"/>
                  </a:cxn>
                  <a:cxn ang="0">
                    <a:pos x="354" y="31"/>
                  </a:cxn>
                  <a:cxn ang="0">
                    <a:pos x="357" y="28"/>
                  </a:cxn>
                  <a:cxn ang="0">
                    <a:pos x="357" y="26"/>
                  </a:cxn>
                  <a:cxn ang="0">
                    <a:pos x="359" y="25"/>
                  </a:cxn>
                  <a:cxn ang="0">
                    <a:pos x="359" y="23"/>
                  </a:cxn>
                  <a:cxn ang="0">
                    <a:pos x="357" y="22"/>
                  </a:cxn>
                  <a:cxn ang="0">
                    <a:pos x="357" y="20"/>
                  </a:cxn>
                  <a:cxn ang="0">
                    <a:pos x="355" y="18"/>
                  </a:cxn>
                  <a:cxn ang="0">
                    <a:pos x="352" y="18"/>
                  </a:cxn>
                  <a:cxn ang="0">
                    <a:pos x="276" y="17"/>
                  </a:cxn>
                  <a:cxn ang="0">
                    <a:pos x="226" y="15"/>
                  </a:cxn>
                  <a:cxn ang="0">
                    <a:pos x="186" y="15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3"/>
                  </a:cxn>
                  <a:cxn ang="0">
                    <a:pos x="88" y="22"/>
                  </a:cxn>
                  <a:cxn ang="0">
                    <a:pos x="174" y="30"/>
                  </a:cxn>
                  <a:cxn ang="0">
                    <a:pos x="271" y="35"/>
                  </a:cxn>
                  <a:cxn ang="0">
                    <a:pos x="272" y="35"/>
                  </a:cxn>
                  <a:cxn ang="0">
                    <a:pos x="349" y="36"/>
                  </a:cxn>
                </a:cxnLst>
                <a:rect l="0" t="0" r="r" b="b"/>
                <a:pathLst>
                  <a:path w="359" h="36">
                    <a:moveTo>
                      <a:pt x="349" y="36"/>
                    </a:moveTo>
                    <a:lnTo>
                      <a:pt x="350" y="36"/>
                    </a:lnTo>
                    <a:lnTo>
                      <a:pt x="354" y="33"/>
                    </a:lnTo>
                    <a:lnTo>
                      <a:pt x="354" y="31"/>
                    </a:lnTo>
                    <a:lnTo>
                      <a:pt x="355" y="30"/>
                    </a:lnTo>
                    <a:lnTo>
                      <a:pt x="355" y="28"/>
                    </a:lnTo>
                    <a:lnTo>
                      <a:pt x="354" y="26"/>
                    </a:lnTo>
                    <a:lnTo>
                      <a:pt x="354" y="25"/>
                    </a:lnTo>
                    <a:lnTo>
                      <a:pt x="352" y="23"/>
                    </a:lnTo>
                    <a:lnTo>
                      <a:pt x="349" y="23"/>
                    </a:lnTo>
                    <a:lnTo>
                      <a:pt x="272" y="22"/>
                    </a:lnTo>
                    <a:lnTo>
                      <a:pt x="176" y="17"/>
                    </a:lnTo>
                    <a:lnTo>
                      <a:pt x="90" y="9"/>
                    </a:lnTo>
                    <a:lnTo>
                      <a:pt x="7" y="0"/>
                    </a:lnTo>
                    <a:lnTo>
                      <a:pt x="5" y="13"/>
                    </a:lnTo>
                    <a:lnTo>
                      <a:pt x="184" y="28"/>
                    </a:lnTo>
                    <a:lnTo>
                      <a:pt x="226" y="28"/>
                    </a:lnTo>
                    <a:lnTo>
                      <a:pt x="224" y="28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7" y="28"/>
                    </a:lnTo>
                    <a:lnTo>
                      <a:pt x="357" y="26"/>
                    </a:lnTo>
                    <a:lnTo>
                      <a:pt x="359" y="25"/>
                    </a:lnTo>
                    <a:lnTo>
                      <a:pt x="359" y="23"/>
                    </a:lnTo>
                    <a:lnTo>
                      <a:pt x="357" y="22"/>
                    </a:lnTo>
                    <a:lnTo>
                      <a:pt x="357" y="20"/>
                    </a:lnTo>
                    <a:lnTo>
                      <a:pt x="355" y="18"/>
                    </a:lnTo>
                    <a:lnTo>
                      <a:pt x="352" y="18"/>
                    </a:lnTo>
                    <a:lnTo>
                      <a:pt x="276" y="17"/>
                    </a:lnTo>
                    <a:lnTo>
                      <a:pt x="226" y="15"/>
                    </a:lnTo>
                    <a:lnTo>
                      <a:pt x="186" y="15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88" y="22"/>
                    </a:lnTo>
                    <a:lnTo>
                      <a:pt x="174" y="30"/>
                    </a:lnTo>
                    <a:lnTo>
                      <a:pt x="271" y="35"/>
                    </a:lnTo>
                    <a:lnTo>
                      <a:pt x="272" y="35"/>
                    </a:lnTo>
                    <a:lnTo>
                      <a:pt x="349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263">
                <a:extLst>
                  <a:ext uri="{FF2B5EF4-FFF2-40B4-BE49-F238E27FC236}">
                    <a16:creationId xmlns:a16="http://schemas.microsoft.com/office/drawing/2014/main" id="{ED7CF504-5E12-4C95-AEFB-C6335FEC292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1" y="1200"/>
                <a:ext cx="192" cy="246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1"/>
                  </a:cxn>
                  <a:cxn ang="0">
                    <a:pos x="10" y="18"/>
                  </a:cxn>
                  <a:cxn ang="0">
                    <a:pos x="11" y="18"/>
                  </a:cxn>
                  <a:cxn ang="0">
                    <a:pos x="23" y="24"/>
                  </a:cxn>
                  <a:cxn ang="0">
                    <a:pos x="20" y="23"/>
                  </a:cxn>
                  <a:cxn ang="0">
                    <a:pos x="28" y="34"/>
                  </a:cxn>
                  <a:cxn ang="0">
                    <a:pos x="35" y="44"/>
                  </a:cxn>
                  <a:cxn ang="0">
                    <a:pos x="35" y="42"/>
                  </a:cxn>
                  <a:cxn ang="0">
                    <a:pos x="45" y="62"/>
                  </a:cxn>
                  <a:cxn ang="0">
                    <a:pos x="45" y="64"/>
                  </a:cxn>
                  <a:cxn ang="0">
                    <a:pos x="60" y="88"/>
                  </a:cxn>
                  <a:cxn ang="0">
                    <a:pos x="89" y="130"/>
                  </a:cxn>
                  <a:cxn ang="0">
                    <a:pos x="91" y="130"/>
                  </a:cxn>
                  <a:cxn ang="0">
                    <a:pos x="106" y="147"/>
                  </a:cxn>
                  <a:cxn ang="0">
                    <a:pos x="126" y="166"/>
                  </a:cxn>
                  <a:cxn ang="0">
                    <a:pos x="126" y="168"/>
                  </a:cxn>
                  <a:cxn ang="0">
                    <a:pos x="138" y="176"/>
                  </a:cxn>
                  <a:cxn ang="0">
                    <a:pos x="138" y="174"/>
                  </a:cxn>
                  <a:cxn ang="0">
                    <a:pos x="146" y="183"/>
                  </a:cxn>
                  <a:cxn ang="0">
                    <a:pos x="144" y="178"/>
                  </a:cxn>
                  <a:cxn ang="0">
                    <a:pos x="143" y="186"/>
                  </a:cxn>
                  <a:cxn ang="0">
                    <a:pos x="144" y="183"/>
                  </a:cxn>
                  <a:cxn ang="0">
                    <a:pos x="134" y="192"/>
                  </a:cxn>
                  <a:cxn ang="0">
                    <a:pos x="134" y="199"/>
                  </a:cxn>
                  <a:cxn ang="0">
                    <a:pos x="136" y="199"/>
                  </a:cxn>
                  <a:cxn ang="0">
                    <a:pos x="138" y="201"/>
                  </a:cxn>
                  <a:cxn ang="0">
                    <a:pos x="139" y="201"/>
                  </a:cxn>
                  <a:cxn ang="0">
                    <a:pos x="141" y="202"/>
                  </a:cxn>
                  <a:cxn ang="0">
                    <a:pos x="143" y="201"/>
                  </a:cxn>
                  <a:cxn ang="0">
                    <a:pos x="144" y="201"/>
                  </a:cxn>
                  <a:cxn ang="0">
                    <a:pos x="144" y="199"/>
                  </a:cxn>
                  <a:cxn ang="0">
                    <a:pos x="153" y="191"/>
                  </a:cxn>
                  <a:cxn ang="0">
                    <a:pos x="154" y="191"/>
                  </a:cxn>
                  <a:cxn ang="0">
                    <a:pos x="154" y="189"/>
                  </a:cxn>
                  <a:cxn ang="0">
                    <a:pos x="156" y="187"/>
                  </a:cxn>
                  <a:cxn ang="0">
                    <a:pos x="158" y="179"/>
                  </a:cxn>
                  <a:cxn ang="0">
                    <a:pos x="156" y="178"/>
                  </a:cxn>
                  <a:cxn ang="0">
                    <a:pos x="156" y="176"/>
                  </a:cxn>
                  <a:cxn ang="0">
                    <a:pos x="146" y="166"/>
                  </a:cxn>
                  <a:cxn ang="0">
                    <a:pos x="146" y="165"/>
                  </a:cxn>
                  <a:cxn ang="0">
                    <a:pos x="134" y="156"/>
                  </a:cxn>
                  <a:cxn ang="0">
                    <a:pos x="134" y="158"/>
                  </a:cxn>
                  <a:cxn ang="0">
                    <a:pos x="114" y="139"/>
                  </a:cxn>
                  <a:cxn ang="0">
                    <a:pos x="116" y="139"/>
                  </a:cxn>
                  <a:cxn ang="0">
                    <a:pos x="101" y="122"/>
                  </a:cxn>
                  <a:cxn ang="0">
                    <a:pos x="71" y="80"/>
                  </a:cxn>
                  <a:cxn ang="0">
                    <a:pos x="71" y="81"/>
                  </a:cxn>
                  <a:cxn ang="0">
                    <a:pos x="56" y="57"/>
                  </a:cxn>
                  <a:cxn ang="0">
                    <a:pos x="46" y="37"/>
                  </a:cxn>
                  <a:cxn ang="0">
                    <a:pos x="46" y="36"/>
                  </a:cxn>
                  <a:cxn ang="0">
                    <a:pos x="40" y="26"/>
                  </a:cxn>
                  <a:cxn ang="0">
                    <a:pos x="31" y="15"/>
                  </a:cxn>
                  <a:cxn ang="0">
                    <a:pos x="30" y="15"/>
                  </a:cxn>
                  <a:cxn ang="0">
                    <a:pos x="30" y="13"/>
                  </a:cxn>
                  <a:cxn ang="0">
                    <a:pos x="18" y="6"/>
                  </a:cxn>
                  <a:cxn ang="0">
                    <a:pos x="18" y="8"/>
                  </a:cxn>
                  <a:cxn ang="0">
                    <a:pos x="10" y="2"/>
                  </a:cxn>
                </a:cxnLst>
                <a:rect l="0" t="0" r="r" b="b"/>
                <a:pathLst>
                  <a:path w="158" h="202">
                    <a:moveTo>
                      <a:pt x="10" y="2"/>
                    </a:move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23" y="24"/>
                    </a:lnTo>
                    <a:lnTo>
                      <a:pt x="20" y="23"/>
                    </a:lnTo>
                    <a:lnTo>
                      <a:pt x="28" y="34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45" y="62"/>
                    </a:lnTo>
                    <a:lnTo>
                      <a:pt x="45" y="64"/>
                    </a:lnTo>
                    <a:lnTo>
                      <a:pt x="60" y="88"/>
                    </a:lnTo>
                    <a:lnTo>
                      <a:pt x="89" y="130"/>
                    </a:lnTo>
                    <a:lnTo>
                      <a:pt x="91" y="130"/>
                    </a:lnTo>
                    <a:lnTo>
                      <a:pt x="106" y="147"/>
                    </a:lnTo>
                    <a:lnTo>
                      <a:pt x="126" y="166"/>
                    </a:lnTo>
                    <a:lnTo>
                      <a:pt x="126" y="168"/>
                    </a:lnTo>
                    <a:lnTo>
                      <a:pt x="138" y="176"/>
                    </a:lnTo>
                    <a:lnTo>
                      <a:pt x="138" y="174"/>
                    </a:lnTo>
                    <a:lnTo>
                      <a:pt x="146" y="183"/>
                    </a:lnTo>
                    <a:lnTo>
                      <a:pt x="144" y="178"/>
                    </a:lnTo>
                    <a:lnTo>
                      <a:pt x="143" y="186"/>
                    </a:lnTo>
                    <a:lnTo>
                      <a:pt x="144" y="183"/>
                    </a:lnTo>
                    <a:lnTo>
                      <a:pt x="134" y="192"/>
                    </a:lnTo>
                    <a:lnTo>
                      <a:pt x="134" y="199"/>
                    </a:lnTo>
                    <a:lnTo>
                      <a:pt x="136" y="199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1" y="202"/>
                    </a:lnTo>
                    <a:lnTo>
                      <a:pt x="143" y="201"/>
                    </a:lnTo>
                    <a:lnTo>
                      <a:pt x="144" y="201"/>
                    </a:lnTo>
                    <a:lnTo>
                      <a:pt x="144" y="19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4" y="189"/>
                    </a:lnTo>
                    <a:lnTo>
                      <a:pt x="156" y="187"/>
                    </a:lnTo>
                    <a:lnTo>
                      <a:pt x="158" y="179"/>
                    </a:lnTo>
                    <a:lnTo>
                      <a:pt x="156" y="178"/>
                    </a:lnTo>
                    <a:lnTo>
                      <a:pt x="156" y="176"/>
                    </a:lnTo>
                    <a:lnTo>
                      <a:pt x="146" y="166"/>
                    </a:lnTo>
                    <a:lnTo>
                      <a:pt x="146" y="165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14" y="139"/>
                    </a:lnTo>
                    <a:lnTo>
                      <a:pt x="116" y="139"/>
                    </a:lnTo>
                    <a:lnTo>
                      <a:pt x="101" y="122"/>
                    </a:lnTo>
                    <a:lnTo>
                      <a:pt x="71" y="80"/>
                    </a:lnTo>
                    <a:lnTo>
                      <a:pt x="71" y="81"/>
                    </a:lnTo>
                    <a:lnTo>
                      <a:pt x="56" y="57"/>
                    </a:lnTo>
                    <a:lnTo>
                      <a:pt x="46" y="37"/>
                    </a:lnTo>
                    <a:lnTo>
                      <a:pt x="46" y="36"/>
                    </a:lnTo>
                    <a:lnTo>
                      <a:pt x="40" y="26"/>
                    </a:lnTo>
                    <a:lnTo>
                      <a:pt x="31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0" y="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264">
                <a:extLst>
                  <a:ext uri="{FF2B5EF4-FFF2-40B4-BE49-F238E27FC236}">
                    <a16:creationId xmlns:a16="http://schemas.microsoft.com/office/drawing/2014/main" id="{6CC5DC25-32FA-4ECF-8129-D1563D5B32D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2" y="1248"/>
                <a:ext cx="21" cy="48"/>
              </a:xfrm>
              <a:custGeom>
                <a:avLst/>
                <a:gdLst/>
                <a:ahLst/>
                <a:cxnLst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6"/>
                  </a:cxn>
                  <a:cxn ang="0">
                    <a:pos x="3" y="32"/>
                  </a:cxn>
                  <a:cxn ang="0">
                    <a:pos x="3" y="35"/>
                  </a:cxn>
                  <a:cxn ang="0">
                    <a:pos x="5" y="37"/>
                  </a:cxn>
                  <a:cxn ang="0">
                    <a:pos x="7" y="37"/>
                  </a:cxn>
                  <a:cxn ang="0">
                    <a:pos x="8" y="39"/>
                  </a:cxn>
                  <a:cxn ang="0">
                    <a:pos x="10" y="39"/>
                  </a:cxn>
                  <a:cxn ang="0">
                    <a:pos x="12" y="37"/>
                  </a:cxn>
                  <a:cxn ang="0">
                    <a:pos x="13" y="37"/>
                  </a:cxn>
                  <a:cxn ang="0">
                    <a:pos x="15" y="35"/>
                  </a:cxn>
                  <a:cxn ang="0">
                    <a:pos x="15" y="34"/>
                  </a:cxn>
                  <a:cxn ang="0">
                    <a:pos x="17" y="32"/>
                  </a:cxn>
                  <a:cxn ang="0">
                    <a:pos x="17" y="31"/>
                  </a:cxn>
                  <a:cxn ang="0">
                    <a:pos x="13" y="4"/>
                  </a:cxn>
                </a:cxnLst>
                <a:rect l="0" t="0" r="r" b="b"/>
                <a:pathLst>
                  <a:path w="17" h="39">
                    <a:moveTo>
                      <a:pt x="13" y="4"/>
                    </a:move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3" y="32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7" y="37"/>
                    </a:lnTo>
                    <a:lnTo>
                      <a:pt x="8" y="39"/>
                    </a:lnTo>
                    <a:lnTo>
                      <a:pt x="10" y="39"/>
                    </a:lnTo>
                    <a:lnTo>
                      <a:pt x="12" y="37"/>
                    </a:lnTo>
                    <a:lnTo>
                      <a:pt x="13" y="37"/>
                    </a:lnTo>
                    <a:lnTo>
                      <a:pt x="15" y="35"/>
                    </a:lnTo>
                    <a:lnTo>
                      <a:pt x="15" y="34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265">
                <a:extLst>
                  <a:ext uri="{FF2B5EF4-FFF2-40B4-BE49-F238E27FC236}">
                    <a16:creationId xmlns:a16="http://schemas.microsoft.com/office/drawing/2014/main" id="{F228B9CE-55E8-4C3B-9044-5FEA030E7EA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52" y="1953"/>
                <a:ext cx="129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100" y="14"/>
                  </a:cxn>
                  <a:cxn ang="0">
                    <a:pos x="101" y="14"/>
                  </a:cxn>
                  <a:cxn ang="0">
                    <a:pos x="105" y="11"/>
                  </a:cxn>
                  <a:cxn ang="0">
                    <a:pos x="105" y="10"/>
                  </a:cxn>
                  <a:cxn ang="0">
                    <a:pos x="106" y="8"/>
                  </a:cxn>
                  <a:cxn ang="0">
                    <a:pos x="106" y="6"/>
                  </a:cxn>
                  <a:cxn ang="0">
                    <a:pos x="105" y="5"/>
                  </a:cxn>
                  <a:cxn ang="0">
                    <a:pos x="105" y="3"/>
                  </a:cxn>
                  <a:cxn ang="0">
                    <a:pos x="103" y="1"/>
                  </a:cxn>
                  <a:cxn ang="0">
                    <a:pos x="100" y="1"/>
                  </a:cxn>
                  <a:cxn ang="0">
                    <a:pos x="7" y="0"/>
                  </a:cxn>
                </a:cxnLst>
                <a:rect l="0" t="0" r="r" b="b"/>
                <a:pathLst>
                  <a:path w="106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100" y="14"/>
                    </a:lnTo>
                    <a:lnTo>
                      <a:pt x="101" y="14"/>
                    </a:lnTo>
                    <a:lnTo>
                      <a:pt x="105" y="11"/>
                    </a:lnTo>
                    <a:lnTo>
                      <a:pt x="105" y="10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5" y="5"/>
                    </a:lnTo>
                    <a:lnTo>
                      <a:pt x="105" y="3"/>
                    </a:lnTo>
                    <a:lnTo>
                      <a:pt x="103" y="1"/>
                    </a:lnTo>
                    <a:lnTo>
                      <a:pt x="100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266">
                <a:extLst>
                  <a:ext uri="{FF2B5EF4-FFF2-40B4-BE49-F238E27FC236}">
                    <a16:creationId xmlns:a16="http://schemas.microsoft.com/office/drawing/2014/main" id="{293229B2-C915-459B-A34F-942BAC935E8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5" y="1915"/>
                <a:ext cx="60" cy="4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19" y="23"/>
                  </a:cxn>
                  <a:cxn ang="0">
                    <a:pos x="20" y="23"/>
                  </a:cxn>
                  <a:cxn ang="0">
                    <a:pos x="40" y="34"/>
                  </a:cxn>
                  <a:cxn ang="0">
                    <a:pos x="42" y="34"/>
                  </a:cxn>
                  <a:cxn ang="0">
                    <a:pos x="44" y="36"/>
                  </a:cxn>
                  <a:cxn ang="0">
                    <a:pos x="45" y="34"/>
                  </a:cxn>
                  <a:cxn ang="0">
                    <a:pos x="47" y="34"/>
                  </a:cxn>
                  <a:cxn ang="0">
                    <a:pos x="47" y="32"/>
                  </a:cxn>
                  <a:cxn ang="0">
                    <a:pos x="49" y="32"/>
                  </a:cxn>
                  <a:cxn ang="0">
                    <a:pos x="49" y="31"/>
                  </a:cxn>
                  <a:cxn ang="0">
                    <a:pos x="50" y="29"/>
                  </a:cxn>
                  <a:cxn ang="0">
                    <a:pos x="49" y="28"/>
                  </a:cxn>
                  <a:cxn ang="0">
                    <a:pos x="49" y="26"/>
                  </a:cxn>
                  <a:cxn ang="0">
                    <a:pos x="47" y="24"/>
                  </a:cxn>
                  <a:cxn ang="0">
                    <a:pos x="47" y="23"/>
                  </a:cxn>
                  <a:cxn ang="0">
                    <a:pos x="27" y="11"/>
                  </a:cxn>
                  <a:cxn ang="0">
                    <a:pos x="10" y="0"/>
                  </a:cxn>
                </a:cxnLst>
                <a:rect l="0" t="0" r="r" b="b"/>
                <a:pathLst>
                  <a:path w="50" h="36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19" y="23"/>
                    </a:lnTo>
                    <a:lnTo>
                      <a:pt x="20" y="23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5" y="34"/>
                    </a:lnTo>
                    <a:lnTo>
                      <a:pt x="47" y="34"/>
                    </a:lnTo>
                    <a:lnTo>
                      <a:pt x="47" y="32"/>
                    </a:lnTo>
                    <a:lnTo>
                      <a:pt x="49" y="32"/>
                    </a:lnTo>
                    <a:lnTo>
                      <a:pt x="49" y="31"/>
                    </a:lnTo>
                    <a:lnTo>
                      <a:pt x="50" y="29"/>
                    </a:lnTo>
                    <a:lnTo>
                      <a:pt x="49" y="28"/>
                    </a:lnTo>
                    <a:lnTo>
                      <a:pt x="49" y="26"/>
                    </a:lnTo>
                    <a:lnTo>
                      <a:pt x="47" y="24"/>
                    </a:lnTo>
                    <a:lnTo>
                      <a:pt x="47" y="23"/>
                    </a:lnTo>
                    <a:lnTo>
                      <a:pt x="27" y="11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267">
                <a:extLst>
                  <a:ext uri="{FF2B5EF4-FFF2-40B4-BE49-F238E27FC236}">
                    <a16:creationId xmlns:a16="http://schemas.microsoft.com/office/drawing/2014/main" id="{7EC85230-219E-4C64-8501-DEC49F27D50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5" y="2007"/>
                <a:ext cx="125" cy="22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10" y="16"/>
                  </a:cxn>
                  <a:cxn ang="0">
                    <a:pos x="97" y="18"/>
                  </a:cxn>
                  <a:cxn ang="0">
                    <a:pos x="98" y="18"/>
                  </a:cxn>
                  <a:cxn ang="0">
                    <a:pos x="102" y="14"/>
                  </a:cxn>
                  <a:cxn ang="0">
                    <a:pos x="102" y="13"/>
                  </a:cxn>
                  <a:cxn ang="0">
                    <a:pos x="103" y="11"/>
                  </a:cxn>
                  <a:cxn ang="0">
                    <a:pos x="103" y="9"/>
                  </a:cxn>
                  <a:cxn ang="0">
                    <a:pos x="102" y="8"/>
                  </a:cxn>
                  <a:cxn ang="0">
                    <a:pos x="102" y="6"/>
                  </a:cxn>
                  <a:cxn ang="0">
                    <a:pos x="100" y="5"/>
                  </a:cxn>
                  <a:cxn ang="0">
                    <a:pos x="97" y="5"/>
                  </a:cxn>
                  <a:cxn ang="0">
                    <a:pos x="10" y="3"/>
                  </a:cxn>
                  <a:cxn ang="0">
                    <a:pos x="14" y="5"/>
                  </a:cxn>
                  <a:cxn ang="0">
                    <a:pos x="10" y="1"/>
                  </a:cxn>
                </a:cxnLst>
                <a:rect l="0" t="0" r="r" b="b"/>
                <a:pathLst>
                  <a:path w="103" h="18">
                    <a:moveTo>
                      <a:pt x="10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97" y="18"/>
                    </a:lnTo>
                    <a:lnTo>
                      <a:pt x="98" y="18"/>
                    </a:lnTo>
                    <a:lnTo>
                      <a:pt x="102" y="14"/>
                    </a:lnTo>
                    <a:lnTo>
                      <a:pt x="102" y="13"/>
                    </a:lnTo>
                    <a:lnTo>
                      <a:pt x="103" y="11"/>
                    </a:lnTo>
                    <a:lnTo>
                      <a:pt x="103" y="9"/>
                    </a:lnTo>
                    <a:lnTo>
                      <a:pt x="102" y="8"/>
                    </a:lnTo>
                    <a:lnTo>
                      <a:pt x="102" y="6"/>
                    </a:lnTo>
                    <a:lnTo>
                      <a:pt x="100" y="5"/>
                    </a:lnTo>
                    <a:lnTo>
                      <a:pt x="97" y="5"/>
                    </a:lnTo>
                    <a:lnTo>
                      <a:pt x="10" y="3"/>
                    </a:lnTo>
                    <a:lnTo>
                      <a:pt x="14" y="5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268">
                <a:extLst>
                  <a:ext uri="{FF2B5EF4-FFF2-40B4-BE49-F238E27FC236}">
                    <a16:creationId xmlns:a16="http://schemas.microsoft.com/office/drawing/2014/main" id="{FB72260A-8F4A-4256-8C93-91EE206D468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8" y="1936"/>
                <a:ext cx="40" cy="34"/>
              </a:xfrm>
              <a:custGeom>
                <a:avLst/>
                <a:gdLst/>
                <a:ahLst/>
                <a:cxnLst>
                  <a:cxn ang="0">
                    <a:pos x="30" y="11"/>
                  </a:cxn>
                  <a:cxn ang="0">
                    <a:pos x="32" y="10"/>
                  </a:cxn>
                  <a:cxn ang="0">
                    <a:pos x="32" y="8"/>
                  </a:cxn>
                  <a:cxn ang="0">
                    <a:pos x="33" y="6"/>
                  </a:cxn>
                  <a:cxn ang="0">
                    <a:pos x="33" y="5"/>
                  </a:cxn>
                  <a:cxn ang="0">
                    <a:pos x="32" y="3"/>
                  </a:cxn>
                  <a:cxn ang="0">
                    <a:pos x="32" y="2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" y="15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3" y="26"/>
                  </a:cxn>
                  <a:cxn ang="0">
                    <a:pos x="5" y="28"/>
                  </a:cxn>
                  <a:cxn ang="0">
                    <a:pos x="7" y="28"/>
                  </a:cxn>
                  <a:cxn ang="0">
                    <a:pos x="8" y="26"/>
                  </a:cxn>
                  <a:cxn ang="0">
                    <a:pos x="10" y="26"/>
                  </a:cxn>
                  <a:cxn ang="0">
                    <a:pos x="30" y="11"/>
                  </a:cxn>
                </a:cxnLst>
                <a:rect l="0" t="0" r="r" b="b"/>
                <a:pathLst>
                  <a:path w="33" h="28">
                    <a:moveTo>
                      <a:pt x="30" y="11"/>
                    </a:moveTo>
                    <a:lnTo>
                      <a:pt x="32" y="10"/>
                    </a:lnTo>
                    <a:lnTo>
                      <a:pt x="32" y="8"/>
                    </a:lnTo>
                    <a:lnTo>
                      <a:pt x="33" y="6"/>
                    </a:lnTo>
                    <a:lnTo>
                      <a:pt x="33" y="5"/>
                    </a:lnTo>
                    <a:lnTo>
                      <a:pt x="32" y="3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3" y="26"/>
                    </a:lnTo>
                    <a:lnTo>
                      <a:pt x="5" y="28"/>
                    </a:lnTo>
                    <a:lnTo>
                      <a:pt x="7" y="28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30" y="11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269">
                <a:extLst>
                  <a:ext uri="{FF2B5EF4-FFF2-40B4-BE49-F238E27FC236}">
                    <a16:creationId xmlns:a16="http://schemas.microsoft.com/office/drawing/2014/main" id="{37CB96DC-8538-4EA3-8815-C5FFC7BE254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07" y="1973"/>
                <a:ext cx="204" cy="123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3" y="15"/>
                  </a:cxn>
                  <a:cxn ang="0">
                    <a:pos x="37" y="26"/>
                  </a:cxn>
                  <a:cxn ang="0">
                    <a:pos x="71" y="56"/>
                  </a:cxn>
                  <a:cxn ang="0">
                    <a:pos x="91" y="74"/>
                  </a:cxn>
                  <a:cxn ang="0">
                    <a:pos x="113" y="92"/>
                  </a:cxn>
                  <a:cxn ang="0">
                    <a:pos x="133" y="100"/>
                  </a:cxn>
                  <a:cxn ang="0">
                    <a:pos x="151" y="101"/>
                  </a:cxn>
                  <a:cxn ang="0">
                    <a:pos x="161" y="97"/>
                  </a:cxn>
                  <a:cxn ang="0">
                    <a:pos x="164" y="95"/>
                  </a:cxn>
                  <a:cxn ang="0">
                    <a:pos x="166" y="92"/>
                  </a:cxn>
                  <a:cxn ang="0">
                    <a:pos x="168" y="80"/>
                  </a:cxn>
                  <a:cxn ang="0">
                    <a:pos x="158" y="51"/>
                  </a:cxn>
                  <a:cxn ang="0">
                    <a:pos x="146" y="23"/>
                  </a:cxn>
                  <a:cxn ang="0">
                    <a:pos x="138" y="5"/>
                  </a:cxn>
                  <a:cxn ang="0">
                    <a:pos x="134" y="4"/>
                  </a:cxn>
                  <a:cxn ang="0">
                    <a:pos x="110" y="0"/>
                  </a:cxn>
                  <a:cxn ang="0">
                    <a:pos x="90" y="5"/>
                  </a:cxn>
                  <a:cxn ang="0">
                    <a:pos x="86" y="15"/>
                  </a:cxn>
                  <a:cxn ang="0">
                    <a:pos x="90" y="17"/>
                  </a:cxn>
                  <a:cxn ang="0">
                    <a:pos x="93" y="18"/>
                  </a:cxn>
                  <a:cxn ang="0">
                    <a:pos x="113" y="12"/>
                  </a:cxn>
                  <a:cxn ang="0">
                    <a:pos x="126" y="13"/>
                  </a:cxn>
                  <a:cxn ang="0">
                    <a:pos x="129" y="15"/>
                  </a:cxn>
                  <a:cxn ang="0">
                    <a:pos x="134" y="28"/>
                  </a:cxn>
                  <a:cxn ang="0">
                    <a:pos x="154" y="83"/>
                  </a:cxn>
                  <a:cxn ang="0">
                    <a:pos x="153" y="90"/>
                  </a:cxn>
                  <a:cxn ang="0">
                    <a:pos x="148" y="88"/>
                  </a:cxn>
                  <a:cxn ang="0">
                    <a:pos x="136" y="88"/>
                  </a:cxn>
                  <a:cxn ang="0">
                    <a:pos x="120" y="80"/>
                  </a:cxn>
                  <a:cxn ang="0">
                    <a:pos x="100" y="64"/>
                  </a:cxn>
                  <a:cxn ang="0">
                    <a:pos x="80" y="46"/>
                  </a:cxn>
                  <a:cxn ang="0">
                    <a:pos x="43" y="15"/>
                  </a:cxn>
                  <a:cxn ang="0">
                    <a:pos x="28" y="10"/>
                  </a:cxn>
                </a:cxnLst>
                <a:rect l="0" t="0" r="r" b="b"/>
                <a:pathLst>
                  <a:path w="168" h="101">
                    <a:moveTo>
                      <a:pt x="8" y="4"/>
                    </a:moveTo>
                    <a:lnTo>
                      <a:pt x="3" y="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3" y="22"/>
                    </a:lnTo>
                    <a:lnTo>
                      <a:pt x="37" y="26"/>
                    </a:lnTo>
                    <a:lnTo>
                      <a:pt x="35" y="26"/>
                    </a:lnTo>
                    <a:lnTo>
                      <a:pt x="71" y="56"/>
                    </a:lnTo>
                    <a:lnTo>
                      <a:pt x="71" y="54"/>
                    </a:lnTo>
                    <a:lnTo>
                      <a:pt x="91" y="74"/>
                    </a:lnTo>
                    <a:lnTo>
                      <a:pt x="91" y="75"/>
                    </a:lnTo>
                    <a:lnTo>
                      <a:pt x="113" y="92"/>
                    </a:lnTo>
                    <a:lnTo>
                      <a:pt x="115" y="92"/>
                    </a:lnTo>
                    <a:lnTo>
                      <a:pt x="133" y="100"/>
                    </a:lnTo>
                    <a:lnTo>
                      <a:pt x="134" y="101"/>
                    </a:lnTo>
                    <a:lnTo>
                      <a:pt x="151" y="101"/>
                    </a:lnTo>
                    <a:lnTo>
                      <a:pt x="153" y="100"/>
                    </a:lnTo>
                    <a:lnTo>
                      <a:pt x="161" y="97"/>
                    </a:lnTo>
                    <a:lnTo>
                      <a:pt x="163" y="97"/>
                    </a:lnTo>
                    <a:lnTo>
                      <a:pt x="164" y="95"/>
                    </a:lnTo>
                    <a:lnTo>
                      <a:pt x="164" y="93"/>
                    </a:lnTo>
                    <a:lnTo>
                      <a:pt x="166" y="92"/>
                    </a:lnTo>
                    <a:lnTo>
                      <a:pt x="168" y="82"/>
                    </a:lnTo>
                    <a:lnTo>
                      <a:pt x="168" y="80"/>
                    </a:lnTo>
                    <a:lnTo>
                      <a:pt x="166" y="80"/>
                    </a:lnTo>
                    <a:lnTo>
                      <a:pt x="158" y="51"/>
                    </a:lnTo>
                    <a:lnTo>
                      <a:pt x="158" y="49"/>
                    </a:lnTo>
                    <a:lnTo>
                      <a:pt x="146" y="23"/>
                    </a:lnTo>
                    <a:lnTo>
                      <a:pt x="138" y="7"/>
                    </a:lnTo>
                    <a:lnTo>
                      <a:pt x="138" y="5"/>
                    </a:lnTo>
                    <a:lnTo>
                      <a:pt x="136" y="4"/>
                    </a:lnTo>
                    <a:lnTo>
                      <a:pt x="134" y="4"/>
                    </a:lnTo>
                    <a:lnTo>
                      <a:pt x="128" y="0"/>
                    </a:lnTo>
                    <a:lnTo>
                      <a:pt x="110" y="0"/>
                    </a:lnTo>
                    <a:lnTo>
                      <a:pt x="91" y="5"/>
                    </a:lnTo>
                    <a:lnTo>
                      <a:pt x="90" y="5"/>
                    </a:lnTo>
                    <a:lnTo>
                      <a:pt x="86" y="8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7"/>
                    </a:lnTo>
                    <a:lnTo>
                      <a:pt x="91" y="17"/>
                    </a:lnTo>
                    <a:lnTo>
                      <a:pt x="93" y="18"/>
                    </a:lnTo>
                    <a:lnTo>
                      <a:pt x="95" y="17"/>
                    </a:lnTo>
                    <a:lnTo>
                      <a:pt x="113" y="12"/>
                    </a:lnTo>
                    <a:lnTo>
                      <a:pt x="111" y="13"/>
                    </a:lnTo>
                    <a:lnTo>
                      <a:pt x="126" y="13"/>
                    </a:lnTo>
                    <a:lnTo>
                      <a:pt x="123" y="12"/>
                    </a:lnTo>
                    <a:lnTo>
                      <a:pt x="129" y="15"/>
                    </a:lnTo>
                    <a:lnTo>
                      <a:pt x="126" y="12"/>
                    </a:lnTo>
                    <a:lnTo>
                      <a:pt x="134" y="28"/>
                    </a:lnTo>
                    <a:lnTo>
                      <a:pt x="146" y="54"/>
                    </a:lnTo>
                    <a:lnTo>
                      <a:pt x="154" y="83"/>
                    </a:lnTo>
                    <a:lnTo>
                      <a:pt x="154" y="80"/>
                    </a:lnTo>
                    <a:lnTo>
                      <a:pt x="153" y="90"/>
                    </a:lnTo>
                    <a:lnTo>
                      <a:pt x="156" y="85"/>
                    </a:lnTo>
                    <a:lnTo>
                      <a:pt x="148" y="88"/>
                    </a:lnTo>
                    <a:lnTo>
                      <a:pt x="151" y="88"/>
                    </a:lnTo>
                    <a:lnTo>
                      <a:pt x="136" y="88"/>
                    </a:lnTo>
                    <a:lnTo>
                      <a:pt x="138" y="88"/>
                    </a:lnTo>
                    <a:lnTo>
                      <a:pt x="120" y="80"/>
                    </a:lnTo>
                    <a:lnTo>
                      <a:pt x="121" y="8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80" y="46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1" y="15"/>
                    </a:lnTo>
                    <a:lnTo>
                      <a:pt x="28" y="10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270">
                <a:extLst>
                  <a:ext uri="{FF2B5EF4-FFF2-40B4-BE49-F238E27FC236}">
                    <a16:creationId xmlns:a16="http://schemas.microsoft.com/office/drawing/2014/main" id="{82FA48AF-8072-46D8-9BA9-D857C678D3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83" y="2049"/>
                <a:ext cx="53" cy="116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17" y="67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7" y="90"/>
                  </a:cxn>
                  <a:cxn ang="0">
                    <a:pos x="32" y="93"/>
                  </a:cxn>
                  <a:cxn ang="0">
                    <a:pos x="33" y="93"/>
                  </a:cxn>
                  <a:cxn ang="0">
                    <a:pos x="35" y="95"/>
                  </a:cxn>
                  <a:cxn ang="0">
                    <a:pos x="37" y="95"/>
                  </a:cxn>
                  <a:cxn ang="0">
                    <a:pos x="38" y="93"/>
                  </a:cxn>
                  <a:cxn ang="0">
                    <a:pos x="40" y="93"/>
                  </a:cxn>
                  <a:cxn ang="0">
                    <a:pos x="42" y="91"/>
                  </a:cxn>
                  <a:cxn ang="0">
                    <a:pos x="42" y="90"/>
                  </a:cxn>
                  <a:cxn ang="0">
                    <a:pos x="43" y="88"/>
                  </a:cxn>
                  <a:cxn ang="0">
                    <a:pos x="43" y="86"/>
                  </a:cxn>
                  <a:cxn ang="0">
                    <a:pos x="42" y="85"/>
                  </a:cxn>
                  <a:cxn ang="0">
                    <a:pos x="42" y="83"/>
                  </a:cxn>
                  <a:cxn ang="0">
                    <a:pos x="40" y="81"/>
                  </a:cxn>
                  <a:cxn ang="0">
                    <a:pos x="35" y="78"/>
                  </a:cxn>
                  <a:cxn ang="0">
                    <a:pos x="37" y="81"/>
                  </a:cxn>
                  <a:cxn ang="0">
                    <a:pos x="28" y="62"/>
                  </a:cxn>
                  <a:cxn ang="0">
                    <a:pos x="12" y="11"/>
                  </a:cxn>
                  <a:cxn ang="0">
                    <a:pos x="13" y="15"/>
                  </a:cxn>
                  <a:cxn ang="0">
                    <a:pos x="13" y="6"/>
                  </a:cxn>
                </a:cxnLst>
                <a:rect l="0" t="0" r="r" b="b"/>
                <a:pathLst>
                  <a:path w="43" h="95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17" y="67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7" y="90"/>
                    </a:lnTo>
                    <a:lnTo>
                      <a:pt x="32" y="93"/>
                    </a:lnTo>
                    <a:lnTo>
                      <a:pt x="33" y="93"/>
                    </a:lnTo>
                    <a:lnTo>
                      <a:pt x="35" y="95"/>
                    </a:lnTo>
                    <a:lnTo>
                      <a:pt x="37" y="95"/>
                    </a:lnTo>
                    <a:lnTo>
                      <a:pt x="38" y="93"/>
                    </a:lnTo>
                    <a:lnTo>
                      <a:pt x="40" y="93"/>
                    </a:lnTo>
                    <a:lnTo>
                      <a:pt x="42" y="91"/>
                    </a:lnTo>
                    <a:lnTo>
                      <a:pt x="42" y="90"/>
                    </a:lnTo>
                    <a:lnTo>
                      <a:pt x="43" y="88"/>
                    </a:lnTo>
                    <a:lnTo>
                      <a:pt x="43" y="86"/>
                    </a:lnTo>
                    <a:lnTo>
                      <a:pt x="42" y="85"/>
                    </a:lnTo>
                    <a:lnTo>
                      <a:pt x="42" y="83"/>
                    </a:lnTo>
                    <a:lnTo>
                      <a:pt x="40" y="81"/>
                    </a:lnTo>
                    <a:lnTo>
                      <a:pt x="35" y="78"/>
                    </a:lnTo>
                    <a:lnTo>
                      <a:pt x="37" y="81"/>
                    </a:lnTo>
                    <a:lnTo>
                      <a:pt x="28" y="62"/>
                    </a:lnTo>
                    <a:lnTo>
                      <a:pt x="12" y="11"/>
                    </a:lnTo>
                    <a:lnTo>
                      <a:pt x="13" y="1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271">
                <a:extLst>
                  <a:ext uri="{FF2B5EF4-FFF2-40B4-BE49-F238E27FC236}">
                    <a16:creationId xmlns:a16="http://schemas.microsoft.com/office/drawing/2014/main" id="{5E5DD7A3-CC8D-4C2C-99D1-6DCFAD92F1B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6" y="2055"/>
                <a:ext cx="28" cy="42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4" y="32"/>
                  </a:cxn>
                  <a:cxn ang="0">
                    <a:pos x="5" y="32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0" y="31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4" y="28"/>
                  </a:cxn>
                  <a:cxn ang="0">
                    <a:pos x="14" y="21"/>
                  </a:cxn>
                  <a:cxn ang="0">
                    <a:pos x="12" y="24"/>
                  </a:cxn>
                  <a:cxn ang="0">
                    <a:pos x="22" y="10"/>
                  </a:cxn>
                  <a:cxn ang="0">
                    <a:pos x="22" y="8"/>
                  </a:cxn>
                  <a:cxn ang="0">
                    <a:pos x="23" y="6"/>
                  </a:cxn>
                  <a:cxn ang="0">
                    <a:pos x="23" y="5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0" y="16"/>
                  </a:cxn>
                  <a:cxn ang="0">
                    <a:pos x="0" y="21"/>
                  </a:cxn>
                  <a:cxn ang="0">
                    <a:pos x="0" y="28"/>
                  </a:cxn>
                </a:cxnLst>
                <a:rect l="0" t="0" r="r" b="b"/>
                <a:pathLst>
                  <a:path w="23" h="34">
                    <a:moveTo>
                      <a:pt x="0" y="28"/>
                    </a:moveTo>
                    <a:lnTo>
                      <a:pt x="0" y="31"/>
                    </a:lnTo>
                    <a:lnTo>
                      <a:pt x="2" y="31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4" y="28"/>
                    </a:lnTo>
                    <a:lnTo>
                      <a:pt x="14" y="21"/>
                    </a:lnTo>
                    <a:lnTo>
                      <a:pt x="12" y="24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3" y="6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272">
                <a:extLst>
                  <a:ext uri="{FF2B5EF4-FFF2-40B4-BE49-F238E27FC236}">
                    <a16:creationId xmlns:a16="http://schemas.microsoft.com/office/drawing/2014/main" id="{641A00EA-8217-4EEB-B6C2-16576D4E9ED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249"/>
                <a:ext cx="589" cy="105"/>
              </a:xfrm>
              <a:custGeom>
                <a:avLst/>
                <a:gdLst/>
                <a:ahLst/>
                <a:cxnLst>
                  <a:cxn ang="0">
                    <a:pos x="5" y="58"/>
                  </a:cxn>
                  <a:cxn ang="0">
                    <a:pos x="4" y="58"/>
                  </a:cxn>
                  <a:cxn ang="0">
                    <a:pos x="0" y="62"/>
                  </a:cxn>
                  <a:cxn ang="0">
                    <a:pos x="0" y="68"/>
                  </a:cxn>
                  <a:cxn ang="0">
                    <a:pos x="2" y="68"/>
                  </a:cxn>
                  <a:cxn ang="0">
                    <a:pos x="4" y="70"/>
                  </a:cxn>
                  <a:cxn ang="0">
                    <a:pos x="7" y="71"/>
                  </a:cxn>
                  <a:cxn ang="0">
                    <a:pos x="9" y="71"/>
                  </a:cxn>
                  <a:cxn ang="0">
                    <a:pos x="64" y="58"/>
                  </a:cxn>
                  <a:cxn ang="0">
                    <a:pos x="62" y="58"/>
                  </a:cxn>
                  <a:cxn ang="0">
                    <a:pos x="142" y="42"/>
                  </a:cxn>
                  <a:cxn ang="0">
                    <a:pos x="245" y="26"/>
                  </a:cxn>
                  <a:cxn ang="0">
                    <a:pos x="301" y="19"/>
                  </a:cxn>
                  <a:cxn ang="0">
                    <a:pos x="369" y="14"/>
                  </a:cxn>
                  <a:cxn ang="0">
                    <a:pos x="421" y="13"/>
                  </a:cxn>
                  <a:cxn ang="0">
                    <a:pos x="475" y="14"/>
                  </a:cxn>
                  <a:cxn ang="0">
                    <a:pos x="469" y="9"/>
                  </a:cxn>
                  <a:cxn ang="0">
                    <a:pos x="470" y="13"/>
                  </a:cxn>
                  <a:cxn ang="0">
                    <a:pos x="470" y="8"/>
                  </a:cxn>
                  <a:cxn ang="0">
                    <a:pos x="457" y="31"/>
                  </a:cxn>
                  <a:cxn ang="0">
                    <a:pos x="442" y="57"/>
                  </a:cxn>
                  <a:cxn ang="0">
                    <a:pos x="444" y="55"/>
                  </a:cxn>
                  <a:cxn ang="0">
                    <a:pos x="427" y="75"/>
                  </a:cxn>
                  <a:cxn ang="0">
                    <a:pos x="426" y="76"/>
                  </a:cxn>
                  <a:cxn ang="0">
                    <a:pos x="426" y="83"/>
                  </a:cxn>
                  <a:cxn ang="0">
                    <a:pos x="427" y="84"/>
                  </a:cxn>
                  <a:cxn ang="0">
                    <a:pos x="429" y="84"/>
                  </a:cxn>
                  <a:cxn ang="0">
                    <a:pos x="430" y="86"/>
                  </a:cxn>
                  <a:cxn ang="0">
                    <a:pos x="432" y="86"/>
                  </a:cxn>
                  <a:cxn ang="0">
                    <a:pos x="434" y="84"/>
                  </a:cxn>
                  <a:cxn ang="0">
                    <a:pos x="435" y="84"/>
                  </a:cxn>
                  <a:cxn ang="0">
                    <a:pos x="437" y="83"/>
                  </a:cxn>
                  <a:cxn ang="0">
                    <a:pos x="454" y="63"/>
                  </a:cxn>
                  <a:cxn ang="0">
                    <a:pos x="469" y="37"/>
                  </a:cxn>
                  <a:cxn ang="0">
                    <a:pos x="482" y="14"/>
                  </a:cxn>
                  <a:cxn ang="0">
                    <a:pos x="482" y="13"/>
                  </a:cxn>
                  <a:cxn ang="0">
                    <a:pos x="484" y="11"/>
                  </a:cxn>
                  <a:cxn ang="0">
                    <a:pos x="484" y="9"/>
                  </a:cxn>
                  <a:cxn ang="0">
                    <a:pos x="482" y="8"/>
                  </a:cxn>
                  <a:cxn ang="0">
                    <a:pos x="480" y="4"/>
                  </a:cxn>
                  <a:cxn ang="0">
                    <a:pos x="480" y="3"/>
                  </a:cxn>
                  <a:cxn ang="0">
                    <a:pos x="479" y="1"/>
                  </a:cxn>
                  <a:cxn ang="0">
                    <a:pos x="475" y="1"/>
                  </a:cxn>
                  <a:cxn ang="0">
                    <a:pos x="421" y="0"/>
                  </a:cxn>
                  <a:cxn ang="0">
                    <a:pos x="419" y="0"/>
                  </a:cxn>
                  <a:cxn ang="0">
                    <a:pos x="367" y="1"/>
                  </a:cxn>
                  <a:cxn ang="0">
                    <a:pos x="299" y="6"/>
                  </a:cxn>
                  <a:cxn ang="0">
                    <a:pos x="243" y="13"/>
                  </a:cxn>
                  <a:cxn ang="0">
                    <a:pos x="140" y="29"/>
                  </a:cxn>
                  <a:cxn ang="0">
                    <a:pos x="60" y="45"/>
                  </a:cxn>
                  <a:cxn ang="0">
                    <a:pos x="5" y="58"/>
                  </a:cxn>
                </a:cxnLst>
                <a:rect l="0" t="0" r="r" b="b"/>
                <a:pathLst>
                  <a:path w="484" h="86">
                    <a:moveTo>
                      <a:pt x="5" y="58"/>
                    </a:moveTo>
                    <a:lnTo>
                      <a:pt x="4" y="58"/>
                    </a:lnTo>
                    <a:lnTo>
                      <a:pt x="0" y="62"/>
                    </a:lnTo>
                    <a:lnTo>
                      <a:pt x="0" y="68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7" y="71"/>
                    </a:lnTo>
                    <a:lnTo>
                      <a:pt x="9" y="71"/>
                    </a:lnTo>
                    <a:lnTo>
                      <a:pt x="64" y="58"/>
                    </a:lnTo>
                    <a:lnTo>
                      <a:pt x="62" y="58"/>
                    </a:lnTo>
                    <a:lnTo>
                      <a:pt x="142" y="42"/>
                    </a:lnTo>
                    <a:lnTo>
                      <a:pt x="245" y="26"/>
                    </a:lnTo>
                    <a:lnTo>
                      <a:pt x="301" y="19"/>
                    </a:lnTo>
                    <a:lnTo>
                      <a:pt x="369" y="14"/>
                    </a:lnTo>
                    <a:lnTo>
                      <a:pt x="421" y="13"/>
                    </a:lnTo>
                    <a:lnTo>
                      <a:pt x="475" y="14"/>
                    </a:lnTo>
                    <a:lnTo>
                      <a:pt x="469" y="9"/>
                    </a:lnTo>
                    <a:lnTo>
                      <a:pt x="470" y="13"/>
                    </a:lnTo>
                    <a:lnTo>
                      <a:pt x="470" y="8"/>
                    </a:lnTo>
                    <a:lnTo>
                      <a:pt x="457" y="31"/>
                    </a:lnTo>
                    <a:lnTo>
                      <a:pt x="442" y="57"/>
                    </a:lnTo>
                    <a:lnTo>
                      <a:pt x="444" y="55"/>
                    </a:lnTo>
                    <a:lnTo>
                      <a:pt x="427" y="75"/>
                    </a:lnTo>
                    <a:lnTo>
                      <a:pt x="426" y="76"/>
                    </a:lnTo>
                    <a:lnTo>
                      <a:pt x="426" y="83"/>
                    </a:lnTo>
                    <a:lnTo>
                      <a:pt x="427" y="84"/>
                    </a:lnTo>
                    <a:lnTo>
                      <a:pt x="429" y="84"/>
                    </a:lnTo>
                    <a:lnTo>
                      <a:pt x="430" y="86"/>
                    </a:lnTo>
                    <a:lnTo>
                      <a:pt x="432" y="86"/>
                    </a:lnTo>
                    <a:lnTo>
                      <a:pt x="434" y="84"/>
                    </a:lnTo>
                    <a:lnTo>
                      <a:pt x="435" y="84"/>
                    </a:lnTo>
                    <a:lnTo>
                      <a:pt x="437" y="83"/>
                    </a:lnTo>
                    <a:lnTo>
                      <a:pt x="454" y="63"/>
                    </a:lnTo>
                    <a:lnTo>
                      <a:pt x="469" y="37"/>
                    </a:lnTo>
                    <a:lnTo>
                      <a:pt x="482" y="14"/>
                    </a:lnTo>
                    <a:lnTo>
                      <a:pt x="482" y="13"/>
                    </a:lnTo>
                    <a:lnTo>
                      <a:pt x="484" y="11"/>
                    </a:lnTo>
                    <a:lnTo>
                      <a:pt x="484" y="9"/>
                    </a:lnTo>
                    <a:lnTo>
                      <a:pt x="482" y="8"/>
                    </a:lnTo>
                    <a:lnTo>
                      <a:pt x="480" y="4"/>
                    </a:lnTo>
                    <a:lnTo>
                      <a:pt x="480" y="3"/>
                    </a:lnTo>
                    <a:lnTo>
                      <a:pt x="479" y="1"/>
                    </a:lnTo>
                    <a:lnTo>
                      <a:pt x="475" y="1"/>
                    </a:lnTo>
                    <a:lnTo>
                      <a:pt x="421" y="0"/>
                    </a:lnTo>
                    <a:lnTo>
                      <a:pt x="419" y="0"/>
                    </a:lnTo>
                    <a:lnTo>
                      <a:pt x="367" y="1"/>
                    </a:lnTo>
                    <a:lnTo>
                      <a:pt x="299" y="6"/>
                    </a:lnTo>
                    <a:lnTo>
                      <a:pt x="243" y="13"/>
                    </a:lnTo>
                    <a:lnTo>
                      <a:pt x="140" y="29"/>
                    </a:lnTo>
                    <a:lnTo>
                      <a:pt x="60" y="45"/>
                    </a:lnTo>
                    <a:lnTo>
                      <a:pt x="5" y="5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273">
                <a:extLst>
                  <a:ext uri="{FF2B5EF4-FFF2-40B4-BE49-F238E27FC236}">
                    <a16:creationId xmlns:a16="http://schemas.microsoft.com/office/drawing/2014/main" id="{D1670851-2C6F-4950-B94C-C3C694F4C24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2" y="2501"/>
                <a:ext cx="90" cy="182"/>
              </a:xfrm>
              <a:custGeom>
                <a:avLst/>
                <a:gdLst/>
                <a:ahLst/>
                <a:cxnLst>
                  <a:cxn ang="0">
                    <a:pos x="73" y="8"/>
                  </a:cxn>
                  <a:cxn ang="0">
                    <a:pos x="74" y="7"/>
                  </a:cxn>
                  <a:cxn ang="0">
                    <a:pos x="74" y="5"/>
                  </a:cxn>
                  <a:cxn ang="0">
                    <a:pos x="73" y="3"/>
                  </a:cxn>
                  <a:cxn ang="0">
                    <a:pos x="73" y="2"/>
                  </a:cxn>
                  <a:cxn ang="0">
                    <a:pos x="71" y="0"/>
                  </a:cxn>
                  <a:cxn ang="0">
                    <a:pos x="65" y="0"/>
                  </a:cxn>
                  <a:cxn ang="0">
                    <a:pos x="63" y="2"/>
                  </a:cxn>
                  <a:cxn ang="0">
                    <a:pos x="61" y="2"/>
                  </a:cxn>
                  <a:cxn ang="0">
                    <a:pos x="61" y="3"/>
                  </a:cxn>
                  <a:cxn ang="0">
                    <a:pos x="46" y="44"/>
                  </a:cxn>
                  <a:cxn ang="0">
                    <a:pos x="31" y="72"/>
                  </a:cxn>
                  <a:cxn ang="0">
                    <a:pos x="18" y="93"/>
                  </a:cxn>
                  <a:cxn ang="0">
                    <a:pos x="18" y="96"/>
                  </a:cxn>
                  <a:cxn ang="0">
                    <a:pos x="20" y="105"/>
                  </a:cxn>
                  <a:cxn ang="0">
                    <a:pos x="20" y="101"/>
                  </a:cxn>
                  <a:cxn ang="0">
                    <a:pos x="15" y="116"/>
                  </a:cxn>
                  <a:cxn ang="0">
                    <a:pos x="6" y="131"/>
                  </a:cxn>
                  <a:cxn ang="0">
                    <a:pos x="8" y="129"/>
                  </a:cxn>
                  <a:cxn ang="0">
                    <a:pos x="1" y="137"/>
                  </a:cxn>
                  <a:cxn ang="0">
                    <a:pos x="0" y="139"/>
                  </a:cxn>
                  <a:cxn ang="0">
                    <a:pos x="0" y="145"/>
                  </a:cxn>
                  <a:cxn ang="0">
                    <a:pos x="1" y="147"/>
                  </a:cxn>
                  <a:cxn ang="0">
                    <a:pos x="3" y="147"/>
                  </a:cxn>
                  <a:cxn ang="0">
                    <a:pos x="5" y="149"/>
                  </a:cxn>
                  <a:cxn ang="0">
                    <a:pos x="6" y="149"/>
                  </a:cxn>
                  <a:cxn ang="0">
                    <a:pos x="8" y="147"/>
                  </a:cxn>
                  <a:cxn ang="0">
                    <a:pos x="10" y="147"/>
                  </a:cxn>
                  <a:cxn ang="0">
                    <a:pos x="11" y="145"/>
                  </a:cxn>
                  <a:cxn ang="0">
                    <a:pos x="18" y="137"/>
                  </a:cxn>
                  <a:cxn ang="0">
                    <a:pos x="26" y="123"/>
                  </a:cxn>
                  <a:cxn ang="0">
                    <a:pos x="26" y="121"/>
                  </a:cxn>
                  <a:cxn ang="0">
                    <a:pos x="31" y="106"/>
                  </a:cxn>
                  <a:cxn ang="0">
                    <a:pos x="33" y="105"/>
                  </a:cxn>
                  <a:cxn ang="0">
                    <a:pos x="33" y="103"/>
                  </a:cxn>
                  <a:cxn ang="0">
                    <a:pos x="31" y="95"/>
                  </a:cxn>
                  <a:cxn ang="0">
                    <a:pos x="30" y="100"/>
                  </a:cxn>
                  <a:cxn ang="0">
                    <a:pos x="43" y="79"/>
                  </a:cxn>
                  <a:cxn ang="0">
                    <a:pos x="43" y="77"/>
                  </a:cxn>
                  <a:cxn ang="0">
                    <a:pos x="58" y="49"/>
                  </a:cxn>
                  <a:cxn ang="0">
                    <a:pos x="73" y="8"/>
                  </a:cxn>
                </a:cxnLst>
                <a:rect l="0" t="0" r="r" b="b"/>
                <a:pathLst>
                  <a:path w="74" h="149">
                    <a:moveTo>
                      <a:pt x="73" y="8"/>
                    </a:moveTo>
                    <a:lnTo>
                      <a:pt x="74" y="7"/>
                    </a:lnTo>
                    <a:lnTo>
                      <a:pt x="74" y="5"/>
                    </a:lnTo>
                    <a:lnTo>
                      <a:pt x="73" y="3"/>
                    </a:lnTo>
                    <a:lnTo>
                      <a:pt x="73" y="2"/>
                    </a:lnTo>
                    <a:lnTo>
                      <a:pt x="71" y="0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46" y="44"/>
                    </a:lnTo>
                    <a:lnTo>
                      <a:pt x="31" y="72"/>
                    </a:lnTo>
                    <a:lnTo>
                      <a:pt x="18" y="93"/>
                    </a:lnTo>
                    <a:lnTo>
                      <a:pt x="18" y="96"/>
                    </a:lnTo>
                    <a:lnTo>
                      <a:pt x="20" y="105"/>
                    </a:lnTo>
                    <a:lnTo>
                      <a:pt x="20" y="101"/>
                    </a:lnTo>
                    <a:lnTo>
                      <a:pt x="15" y="116"/>
                    </a:lnTo>
                    <a:lnTo>
                      <a:pt x="6" y="131"/>
                    </a:lnTo>
                    <a:lnTo>
                      <a:pt x="8" y="129"/>
                    </a:lnTo>
                    <a:lnTo>
                      <a:pt x="1" y="137"/>
                    </a:lnTo>
                    <a:lnTo>
                      <a:pt x="0" y="139"/>
                    </a:lnTo>
                    <a:lnTo>
                      <a:pt x="0" y="145"/>
                    </a:lnTo>
                    <a:lnTo>
                      <a:pt x="1" y="147"/>
                    </a:lnTo>
                    <a:lnTo>
                      <a:pt x="3" y="147"/>
                    </a:lnTo>
                    <a:lnTo>
                      <a:pt x="5" y="149"/>
                    </a:lnTo>
                    <a:lnTo>
                      <a:pt x="6" y="149"/>
                    </a:lnTo>
                    <a:lnTo>
                      <a:pt x="8" y="147"/>
                    </a:lnTo>
                    <a:lnTo>
                      <a:pt x="10" y="147"/>
                    </a:lnTo>
                    <a:lnTo>
                      <a:pt x="11" y="145"/>
                    </a:lnTo>
                    <a:lnTo>
                      <a:pt x="18" y="137"/>
                    </a:lnTo>
                    <a:lnTo>
                      <a:pt x="26" y="123"/>
                    </a:lnTo>
                    <a:lnTo>
                      <a:pt x="26" y="121"/>
                    </a:lnTo>
                    <a:lnTo>
                      <a:pt x="31" y="106"/>
                    </a:lnTo>
                    <a:lnTo>
                      <a:pt x="33" y="105"/>
                    </a:lnTo>
                    <a:lnTo>
                      <a:pt x="33" y="103"/>
                    </a:lnTo>
                    <a:lnTo>
                      <a:pt x="31" y="95"/>
                    </a:lnTo>
                    <a:lnTo>
                      <a:pt x="30" y="100"/>
                    </a:lnTo>
                    <a:lnTo>
                      <a:pt x="43" y="79"/>
                    </a:lnTo>
                    <a:lnTo>
                      <a:pt x="43" y="77"/>
                    </a:lnTo>
                    <a:lnTo>
                      <a:pt x="58" y="49"/>
                    </a:lnTo>
                    <a:lnTo>
                      <a:pt x="73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274">
                <a:extLst>
                  <a:ext uri="{FF2B5EF4-FFF2-40B4-BE49-F238E27FC236}">
                    <a16:creationId xmlns:a16="http://schemas.microsoft.com/office/drawing/2014/main" id="{DFE78D09-B717-4408-856A-78C0BCC29CC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2" y="2810"/>
                <a:ext cx="507" cy="105"/>
              </a:xfrm>
              <a:custGeom>
                <a:avLst/>
                <a:gdLst/>
                <a:ahLst/>
                <a:cxnLst>
                  <a:cxn ang="0">
                    <a:pos x="0" y="76"/>
                  </a:cxn>
                  <a:cxn ang="0">
                    <a:pos x="0" y="83"/>
                  </a:cxn>
                  <a:cxn ang="0">
                    <a:pos x="2" y="84"/>
                  </a:cxn>
                  <a:cxn ang="0">
                    <a:pos x="4" y="84"/>
                  </a:cxn>
                  <a:cxn ang="0">
                    <a:pos x="5" y="86"/>
                  </a:cxn>
                  <a:cxn ang="0">
                    <a:pos x="7" y="86"/>
                  </a:cxn>
                  <a:cxn ang="0">
                    <a:pos x="9" y="84"/>
                  </a:cxn>
                  <a:cxn ang="0">
                    <a:pos x="10" y="84"/>
                  </a:cxn>
                  <a:cxn ang="0">
                    <a:pos x="12" y="83"/>
                  </a:cxn>
                  <a:cxn ang="0">
                    <a:pos x="12" y="81"/>
                  </a:cxn>
                  <a:cxn ang="0">
                    <a:pos x="22" y="62"/>
                  </a:cxn>
                  <a:cxn ang="0">
                    <a:pos x="35" y="34"/>
                  </a:cxn>
                  <a:cxn ang="0">
                    <a:pos x="45" y="11"/>
                  </a:cxn>
                  <a:cxn ang="0">
                    <a:pos x="43" y="14"/>
                  </a:cxn>
                  <a:cxn ang="0">
                    <a:pos x="48" y="11"/>
                  </a:cxn>
                  <a:cxn ang="0">
                    <a:pos x="45" y="13"/>
                  </a:cxn>
                  <a:cxn ang="0">
                    <a:pos x="88" y="13"/>
                  </a:cxn>
                  <a:cxn ang="0">
                    <a:pos x="186" y="14"/>
                  </a:cxn>
                  <a:cxn ang="0">
                    <a:pos x="256" y="16"/>
                  </a:cxn>
                  <a:cxn ang="0">
                    <a:pos x="254" y="16"/>
                  </a:cxn>
                  <a:cxn ang="0">
                    <a:pos x="321" y="21"/>
                  </a:cxn>
                  <a:cxn ang="0">
                    <a:pos x="339" y="24"/>
                  </a:cxn>
                  <a:cxn ang="0">
                    <a:pos x="362" y="27"/>
                  </a:cxn>
                  <a:cxn ang="0">
                    <a:pos x="384" y="32"/>
                  </a:cxn>
                  <a:cxn ang="0">
                    <a:pos x="382" y="31"/>
                  </a:cxn>
                  <a:cxn ang="0">
                    <a:pos x="399" y="39"/>
                  </a:cxn>
                  <a:cxn ang="0">
                    <a:pos x="397" y="37"/>
                  </a:cxn>
                  <a:cxn ang="0">
                    <a:pos x="405" y="47"/>
                  </a:cxn>
                  <a:cxn ang="0">
                    <a:pos x="404" y="44"/>
                  </a:cxn>
                  <a:cxn ang="0">
                    <a:pos x="404" y="75"/>
                  </a:cxn>
                  <a:cxn ang="0">
                    <a:pos x="405" y="75"/>
                  </a:cxn>
                  <a:cxn ang="0">
                    <a:pos x="407" y="76"/>
                  </a:cxn>
                  <a:cxn ang="0">
                    <a:pos x="409" y="76"/>
                  </a:cxn>
                  <a:cxn ang="0">
                    <a:pos x="410" y="78"/>
                  </a:cxn>
                  <a:cxn ang="0">
                    <a:pos x="412" y="76"/>
                  </a:cxn>
                  <a:cxn ang="0">
                    <a:pos x="414" y="76"/>
                  </a:cxn>
                  <a:cxn ang="0">
                    <a:pos x="414" y="75"/>
                  </a:cxn>
                  <a:cxn ang="0">
                    <a:pos x="415" y="75"/>
                  </a:cxn>
                  <a:cxn ang="0">
                    <a:pos x="415" y="73"/>
                  </a:cxn>
                  <a:cxn ang="0">
                    <a:pos x="417" y="71"/>
                  </a:cxn>
                  <a:cxn ang="0">
                    <a:pos x="417" y="44"/>
                  </a:cxn>
                  <a:cxn ang="0">
                    <a:pos x="417" y="42"/>
                  </a:cxn>
                  <a:cxn ang="0">
                    <a:pos x="415" y="40"/>
                  </a:cxn>
                  <a:cxn ang="0">
                    <a:pos x="415" y="39"/>
                  </a:cxn>
                  <a:cxn ang="0">
                    <a:pos x="407" y="29"/>
                  </a:cxn>
                  <a:cxn ang="0">
                    <a:pos x="405" y="29"/>
                  </a:cxn>
                  <a:cxn ang="0">
                    <a:pos x="404" y="27"/>
                  </a:cxn>
                  <a:cxn ang="0">
                    <a:pos x="387" y="19"/>
                  </a:cxn>
                  <a:cxn ang="0">
                    <a:pos x="366" y="14"/>
                  </a:cxn>
                  <a:cxn ang="0">
                    <a:pos x="364" y="14"/>
                  </a:cxn>
                  <a:cxn ang="0">
                    <a:pos x="341" y="11"/>
                  </a:cxn>
                  <a:cxn ang="0">
                    <a:pos x="322" y="8"/>
                  </a:cxn>
                  <a:cxn ang="0">
                    <a:pos x="256" y="3"/>
                  </a:cxn>
                  <a:cxn ang="0">
                    <a:pos x="186" y="1"/>
                  </a:cxn>
                  <a:cxn ang="0">
                    <a:pos x="88" y="0"/>
                  </a:cxn>
                  <a:cxn ang="0">
                    <a:pos x="40" y="0"/>
                  </a:cxn>
                  <a:cxn ang="0">
                    <a:pos x="35" y="3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23" y="29"/>
                  </a:cxn>
                  <a:cxn ang="0">
                    <a:pos x="10" y="57"/>
                  </a:cxn>
                  <a:cxn ang="0">
                    <a:pos x="0" y="76"/>
                  </a:cxn>
                </a:cxnLst>
                <a:rect l="0" t="0" r="r" b="b"/>
                <a:pathLst>
                  <a:path w="417" h="86">
                    <a:moveTo>
                      <a:pt x="0" y="76"/>
                    </a:moveTo>
                    <a:lnTo>
                      <a:pt x="0" y="83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5" y="86"/>
                    </a:lnTo>
                    <a:lnTo>
                      <a:pt x="7" y="86"/>
                    </a:lnTo>
                    <a:lnTo>
                      <a:pt x="9" y="84"/>
                    </a:lnTo>
                    <a:lnTo>
                      <a:pt x="10" y="84"/>
                    </a:lnTo>
                    <a:lnTo>
                      <a:pt x="12" y="83"/>
                    </a:lnTo>
                    <a:lnTo>
                      <a:pt x="12" y="81"/>
                    </a:lnTo>
                    <a:lnTo>
                      <a:pt x="22" y="62"/>
                    </a:lnTo>
                    <a:lnTo>
                      <a:pt x="35" y="34"/>
                    </a:lnTo>
                    <a:lnTo>
                      <a:pt x="45" y="11"/>
                    </a:lnTo>
                    <a:lnTo>
                      <a:pt x="43" y="14"/>
                    </a:lnTo>
                    <a:lnTo>
                      <a:pt x="48" y="11"/>
                    </a:lnTo>
                    <a:lnTo>
                      <a:pt x="45" y="13"/>
                    </a:lnTo>
                    <a:lnTo>
                      <a:pt x="88" y="13"/>
                    </a:lnTo>
                    <a:lnTo>
                      <a:pt x="186" y="14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321" y="21"/>
                    </a:lnTo>
                    <a:lnTo>
                      <a:pt x="339" y="24"/>
                    </a:lnTo>
                    <a:lnTo>
                      <a:pt x="362" y="27"/>
                    </a:lnTo>
                    <a:lnTo>
                      <a:pt x="384" y="32"/>
                    </a:lnTo>
                    <a:lnTo>
                      <a:pt x="382" y="31"/>
                    </a:lnTo>
                    <a:lnTo>
                      <a:pt x="399" y="39"/>
                    </a:lnTo>
                    <a:lnTo>
                      <a:pt x="397" y="37"/>
                    </a:lnTo>
                    <a:lnTo>
                      <a:pt x="405" y="47"/>
                    </a:lnTo>
                    <a:lnTo>
                      <a:pt x="404" y="44"/>
                    </a:lnTo>
                    <a:lnTo>
                      <a:pt x="404" y="75"/>
                    </a:lnTo>
                    <a:lnTo>
                      <a:pt x="405" y="75"/>
                    </a:lnTo>
                    <a:lnTo>
                      <a:pt x="407" y="76"/>
                    </a:lnTo>
                    <a:lnTo>
                      <a:pt x="409" y="76"/>
                    </a:lnTo>
                    <a:lnTo>
                      <a:pt x="410" y="78"/>
                    </a:lnTo>
                    <a:lnTo>
                      <a:pt x="412" y="76"/>
                    </a:lnTo>
                    <a:lnTo>
                      <a:pt x="414" y="76"/>
                    </a:lnTo>
                    <a:lnTo>
                      <a:pt x="414" y="75"/>
                    </a:lnTo>
                    <a:lnTo>
                      <a:pt x="415" y="75"/>
                    </a:lnTo>
                    <a:lnTo>
                      <a:pt x="415" y="73"/>
                    </a:lnTo>
                    <a:lnTo>
                      <a:pt x="417" y="71"/>
                    </a:lnTo>
                    <a:lnTo>
                      <a:pt x="417" y="44"/>
                    </a:lnTo>
                    <a:lnTo>
                      <a:pt x="417" y="42"/>
                    </a:lnTo>
                    <a:lnTo>
                      <a:pt x="415" y="40"/>
                    </a:lnTo>
                    <a:lnTo>
                      <a:pt x="415" y="39"/>
                    </a:lnTo>
                    <a:lnTo>
                      <a:pt x="407" y="29"/>
                    </a:lnTo>
                    <a:lnTo>
                      <a:pt x="405" y="29"/>
                    </a:lnTo>
                    <a:lnTo>
                      <a:pt x="404" y="27"/>
                    </a:lnTo>
                    <a:lnTo>
                      <a:pt x="387" y="19"/>
                    </a:lnTo>
                    <a:lnTo>
                      <a:pt x="366" y="14"/>
                    </a:lnTo>
                    <a:lnTo>
                      <a:pt x="364" y="14"/>
                    </a:lnTo>
                    <a:lnTo>
                      <a:pt x="341" y="11"/>
                    </a:lnTo>
                    <a:lnTo>
                      <a:pt x="322" y="8"/>
                    </a:lnTo>
                    <a:lnTo>
                      <a:pt x="256" y="3"/>
                    </a:lnTo>
                    <a:lnTo>
                      <a:pt x="186" y="1"/>
                    </a:lnTo>
                    <a:lnTo>
                      <a:pt x="88" y="0"/>
                    </a:lnTo>
                    <a:lnTo>
                      <a:pt x="40" y="0"/>
                    </a:lnTo>
                    <a:lnTo>
                      <a:pt x="35" y="3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23" y="29"/>
                    </a:lnTo>
                    <a:lnTo>
                      <a:pt x="10" y="57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275">
                <a:extLst>
                  <a:ext uri="{FF2B5EF4-FFF2-40B4-BE49-F238E27FC236}">
                    <a16:creationId xmlns:a16="http://schemas.microsoft.com/office/drawing/2014/main" id="{F878EA7B-3D6A-47B5-8DD4-5E69F65081B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966"/>
                <a:ext cx="47" cy="83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8" y="5"/>
                  </a:cxn>
                  <a:cxn ang="0">
                    <a:pos x="37" y="3"/>
                  </a:cxn>
                  <a:cxn ang="0">
                    <a:pos x="37" y="2"/>
                  </a:cxn>
                  <a:cxn ang="0">
                    <a:pos x="35" y="0"/>
                  </a:cxn>
                  <a:cxn ang="0">
                    <a:pos x="27" y="0"/>
                  </a:cxn>
                  <a:cxn ang="0">
                    <a:pos x="25" y="2"/>
                  </a:cxn>
                  <a:cxn ang="0">
                    <a:pos x="25" y="5"/>
                  </a:cxn>
                  <a:cxn ang="0">
                    <a:pos x="23" y="18"/>
                  </a:cxn>
                  <a:cxn ang="0">
                    <a:pos x="23" y="16"/>
                  </a:cxn>
                  <a:cxn ang="0">
                    <a:pos x="0" y="59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3" y="67"/>
                  </a:cxn>
                  <a:cxn ang="0">
                    <a:pos x="5" y="68"/>
                  </a:cxn>
                  <a:cxn ang="0">
                    <a:pos x="7" y="68"/>
                  </a:cxn>
                  <a:cxn ang="0">
                    <a:pos x="8" y="67"/>
                  </a:cxn>
                  <a:cxn ang="0">
                    <a:pos x="10" y="67"/>
                  </a:cxn>
                  <a:cxn ang="0">
                    <a:pos x="12" y="65"/>
                  </a:cxn>
                  <a:cxn ang="0">
                    <a:pos x="35" y="23"/>
                  </a:cxn>
                  <a:cxn ang="0">
                    <a:pos x="35" y="21"/>
                  </a:cxn>
                  <a:cxn ang="0">
                    <a:pos x="37" y="20"/>
                  </a:cxn>
                  <a:cxn ang="0">
                    <a:pos x="38" y="6"/>
                  </a:cxn>
                </a:cxnLst>
                <a:rect l="0" t="0" r="r" b="b"/>
                <a:pathLst>
                  <a:path w="38" h="68">
                    <a:moveTo>
                      <a:pt x="38" y="6"/>
                    </a:moveTo>
                    <a:lnTo>
                      <a:pt x="38" y="5"/>
                    </a:lnTo>
                    <a:lnTo>
                      <a:pt x="37" y="3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27" y="0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0" y="59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3" y="67"/>
                    </a:lnTo>
                    <a:lnTo>
                      <a:pt x="5" y="68"/>
                    </a:lnTo>
                    <a:lnTo>
                      <a:pt x="7" y="68"/>
                    </a:lnTo>
                    <a:lnTo>
                      <a:pt x="8" y="67"/>
                    </a:lnTo>
                    <a:lnTo>
                      <a:pt x="10" y="67"/>
                    </a:lnTo>
                    <a:lnTo>
                      <a:pt x="12" y="65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7" y="20"/>
                    </a:lnTo>
                    <a:lnTo>
                      <a:pt x="38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276">
                <a:extLst>
                  <a:ext uri="{FF2B5EF4-FFF2-40B4-BE49-F238E27FC236}">
                    <a16:creationId xmlns:a16="http://schemas.microsoft.com/office/drawing/2014/main" id="{9A516DED-F0FD-4FAF-8476-5C1AD977D64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9" y="2980"/>
                <a:ext cx="45" cy="86"/>
              </a:xfrm>
              <a:custGeom>
                <a:avLst/>
                <a:gdLst/>
                <a:ahLst/>
                <a:cxnLst>
                  <a:cxn ang="0">
                    <a:pos x="37" y="6"/>
                  </a:cxn>
                  <a:cxn ang="0">
                    <a:pos x="37" y="5"/>
                  </a:cxn>
                  <a:cxn ang="0">
                    <a:pos x="35" y="3"/>
                  </a:cxn>
                  <a:cxn ang="0">
                    <a:pos x="35" y="2"/>
                  </a:cxn>
                  <a:cxn ang="0">
                    <a:pos x="34" y="2"/>
                  </a:cxn>
                  <a:cxn ang="0">
                    <a:pos x="32" y="0"/>
                  </a:cxn>
                  <a:cxn ang="0">
                    <a:pos x="25" y="0"/>
                  </a:cxn>
                  <a:cxn ang="0">
                    <a:pos x="25" y="2"/>
                  </a:cxn>
                  <a:cxn ang="0">
                    <a:pos x="24" y="3"/>
                  </a:cxn>
                  <a:cxn ang="0">
                    <a:pos x="24" y="5"/>
                  </a:cxn>
                  <a:cxn ang="0">
                    <a:pos x="22" y="15"/>
                  </a:cxn>
                  <a:cxn ang="0">
                    <a:pos x="22" y="13"/>
                  </a:cxn>
                  <a:cxn ang="0">
                    <a:pos x="12" y="29"/>
                  </a:cxn>
                  <a:cxn ang="0">
                    <a:pos x="0" y="60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2" y="68"/>
                  </a:cxn>
                  <a:cxn ang="0">
                    <a:pos x="4" y="68"/>
                  </a:cxn>
                  <a:cxn ang="0">
                    <a:pos x="5" y="70"/>
                  </a:cxn>
                  <a:cxn ang="0">
                    <a:pos x="7" y="70"/>
                  </a:cxn>
                  <a:cxn ang="0">
                    <a:pos x="9" y="68"/>
                  </a:cxn>
                  <a:cxn ang="0">
                    <a:pos x="10" y="68"/>
                  </a:cxn>
                  <a:cxn ang="0">
                    <a:pos x="12" y="67"/>
                  </a:cxn>
                  <a:cxn ang="0">
                    <a:pos x="12" y="65"/>
                  </a:cxn>
                  <a:cxn ang="0">
                    <a:pos x="24" y="34"/>
                  </a:cxn>
                  <a:cxn ang="0">
                    <a:pos x="24" y="36"/>
                  </a:cxn>
                  <a:cxn ang="0">
                    <a:pos x="34" y="20"/>
                  </a:cxn>
                  <a:cxn ang="0">
                    <a:pos x="34" y="18"/>
                  </a:cxn>
                  <a:cxn ang="0">
                    <a:pos x="35" y="16"/>
                  </a:cxn>
                  <a:cxn ang="0">
                    <a:pos x="37" y="6"/>
                  </a:cxn>
                </a:cxnLst>
                <a:rect l="0" t="0" r="r" b="b"/>
                <a:pathLst>
                  <a:path w="37" h="70">
                    <a:moveTo>
                      <a:pt x="37" y="6"/>
                    </a:moveTo>
                    <a:lnTo>
                      <a:pt x="37" y="5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3"/>
                    </a:lnTo>
                    <a:lnTo>
                      <a:pt x="24" y="5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12" y="29"/>
                    </a:lnTo>
                    <a:lnTo>
                      <a:pt x="0" y="60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2" y="68"/>
                    </a:lnTo>
                    <a:lnTo>
                      <a:pt x="4" y="68"/>
                    </a:lnTo>
                    <a:lnTo>
                      <a:pt x="5" y="70"/>
                    </a:lnTo>
                    <a:lnTo>
                      <a:pt x="7" y="70"/>
                    </a:lnTo>
                    <a:lnTo>
                      <a:pt x="9" y="68"/>
                    </a:lnTo>
                    <a:lnTo>
                      <a:pt x="10" y="68"/>
                    </a:lnTo>
                    <a:lnTo>
                      <a:pt x="12" y="67"/>
                    </a:lnTo>
                    <a:lnTo>
                      <a:pt x="12" y="65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5" y="16"/>
                    </a:lnTo>
                    <a:lnTo>
                      <a:pt x="37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277">
                <a:extLst>
                  <a:ext uri="{FF2B5EF4-FFF2-40B4-BE49-F238E27FC236}">
                    <a16:creationId xmlns:a16="http://schemas.microsoft.com/office/drawing/2014/main" id="{E7DF410C-B401-4657-B3AB-A1A54F1FB2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929" y="2603"/>
                <a:ext cx="1072" cy="26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4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146" y="19"/>
                  </a:cxn>
                  <a:cxn ang="0">
                    <a:pos x="321" y="21"/>
                  </a:cxn>
                  <a:cxn ang="0">
                    <a:pos x="603" y="21"/>
                  </a:cxn>
                  <a:cxn ang="0">
                    <a:pos x="724" y="16"/>
                  </a:cxn>
                  <a:cxn ang="0">
                    <a:pos x="807" y="16"/>
                  </a:cxn>
                  <a:cxn ang="0">
                    <a:pos x="842" y="13"/>
                  </a:cxn>
                  <a:cxn ang="0">
                    <a:pos x="875" y="13"/>
                  </a:cxn>
                  <a:cxn ang="0">
                    <a:pos x="877" y="11"/>
                  </a:cxn>
                  <a:cxn ang="0">
                    <a:pos x="879" y="11"/>
                  </a:cxn>
                  <a:cxn ang="0">
                    <a:pos x="879" y="10"/>
                  </a:cxn>
                  <a:cxn ang="0">
                    <a:pos x="880" y="10"/>
                  </a:cxn>
                  <a:cxn ang="0">
                    <a:pos x="880" y="8"/>
                  </a:cxn>
                  <a:cxn ang="0">
                    <a:pos x="882" y="6"/>
                  </a:cxn>
                  <a:cxn ang="0">
                    <a:pos x="880" y="5"/>
                  </a:cxn>
                  <a:cxn ang="0">
                    <a:pos x="880" y="3"/>
                  </a:cxn>
                  <a:cxn ang="0">
                    <a:pos x="879" y="1"/>
                  </a:cxn>
                  <a:cxn ang="0">
                    <a:pos x="879" y="0"/>
                  </a:cxn>
                  <a:cxn ang="0">
                    <a:pos x="875" y="0"/>
                  </a:cxn>
                  <a:cxn ang="0">
                    <a:pos x="842" y="0"/>
                  </a:cxn>
                  <a:cxn ang="0">
                    <a:pos x="840" y="0"/>
                  </a:cxn>
                  <a:cxn ang="0">
                    <a:pos x="806" y="3"/>
                  </a:cxn>
                  <a:cxn ang="0">
                    <a:pos x="807" y="3"/>
                  </a:cxn>
                  <a:cxn ang="0">
                    <a:pos x="723" y="3"/>
                  </a:cxn>
                  <a:cxn ang="0">
                    <a:pos x="601" y="8"/>
                  </a:cxn>
                  <a:cxn ang="0">
                    <a:pos x="603" y="8"/>
                  </a:cxn>
                  <a:cxn ang="0">
                    <a:pos x="321" y="8"/>
                  </a:cxn>
                  <a:cxn ang="0">
                    <a:pos x="146" y="6"/>
                  </a:cxn>
                  <a:cxn ang="0">
                    <a:pos x="7" y="6"/>
                  </a:cxn>
                </a:cxnLst>
                <a:rect l="0" t="0" r="r" b="b"/>
                <a:pathLst>
                  <a:path w="882" h="21">
                    <a:moveTo>
                      <a:pt x="7" y="6"/>
                    </a:moveTo>
                    <a:lnTo>
                      <a:pt x="4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146" y="19"/>
                    </a:lnTo>
                    <a:lnTo>
                      <a:pt x="321" y="21"/>
                    </a:lnTo>
                    <a:lnTo>
                      <a:pt x="603" y="21"/>
                    </a:lnTo>
                    <a:lnTo>
                      <a:pt x="724" y="16"/>
                    </a:lnTo>
                    <a:lnTo>
                      <a:pt x="807" y="16"/>
                    </a:lnTo>
                    <a:lnTo>
                      <a:pt x="842" y="13"/>
                    </a:lnTo>
                    <a:lnTo>
                      <a:pt x="875" y="13"/>
                    </a:lnTo>
                    <a:lnTo>
                      <a:pt x="877" y="11"/>
                    </a:lnTo>
                    <a:lnTo>
                      <a:pt x="879" y="11"/>
                    </a:lnTo>
                    <a:lnTo>
                      <a:pt x="879" y="10"/>
                    </a:lnTo>
                    <a:lnTo>
                      <a:pt x="880" y="10"/>
                    </a:lnTo>
                    <a:lnTo>
                      <a:pt x="880" y="8"/>
                    </a:lnTo>
                    <a:lnTo>
                      <a:pt x="882" y="6"/>
                    </a:lnTo>
                    <a:lnTo>
                      <a:pt x="880" y="5"/>
                    </a:lnTo>
                    <a:lnTo>
                      <a:pt x="880" y="3"/>
                    </a:lnTo>
                    <a:lnTo>
                      <a:pt x="879" y="1"/>
                    </a:lnTo>
                    <a:lnTo>
                      <a:pt x="879" y="0"/>
                    </a:lnTo>
                    <a:lnTo>
                      <a:pt x="875" y="0"/>
                    </a:lnTo>
                    <a:lnTo>
                      <a:pt x="842" y="0"/>
                    </a:lnTo>
                    <a:lnTo>
                      <a:pt x="840" y="0"/>
                    </a:lnTo>
                    <a:lnTo>
                      <a:pt x="806" y="3"/>
                    </a:lnTo>
                    <a:lnTo>
                      <a:pt x="807" y="3"/>
                    </a:lnTo>
                    <a:lnTo>
                      <a:pt x="723" y="3"/>
                    </a:lnTo>
                    <a:lnTo>
                      <a:pt x="601" y="8"/>
                    </a:lnTo>
                    <a:lnTo>
                      <a:pt x="603" y="8"/>
                    </a:lnTo>
                    <a:lnTo>
                      <a:pt x="321" y="8"/>
                    </a:lnTo>
                    <a:lnTo>
                      <a:pt x="146" y="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" name="Freeform 278">
                <a:extLst>
                  <a:ext uri="{FF2B5EF4-FFF2-40B4-BE49-F238E27FC236}">
                    <a16:creationId xmlns:a16="http://schemas.microsoft.com/office/drawing/2014/main" id="{293E11F9-7EE9-4BF5-9EDA-61A5EDBF8C9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886" y="2465"/>
                <a:ext cx="1201" cy="182"/>
              </a:xfrm>
              <a:custGeom>
                <a:avLst/>
                <a:gdLst/>
                <a:ahLst/>
                <a:cxnLst>
                  <a:cxn ang="0">
                    <a:pos x="0" y="77"/>
                  </a:cxn>
                  <a:cxn ang="0">
                    <a:pos x="2" y="85"/>
                  </a:cxn>
                  <a:cxn ang="0">
                    <a:pos x="5" y="87"/>
                  </a:cxn>
                  <a:cxn ang="0">
                    <a:pos x="9" y="85"/>
                  </a:cxn>
                  <a:cxn ang="0">
                    <a:pos x="120" y="54"/>
                  </a:cxn>
                  <a:cxn ang="0">
                    <a:pos x="193" y="41"/>
                  </a:cxn>
                  <a:cxn ang="0">
                    <a:pos x="317" y="21"/>
                  </a:cxn>
                  <a:cxn ang="0">
                    <a:pos x="475" y="13"/>
                  </a:cxn>
                  <a:cxn ang="0">
                    <a:pos x="646" y="13"/>
                  </a:cxn>
                  <a:cxn ang="0">
                    <a:pos x="794" y="21"/>
                  </a:cxn>
                  <a:cxn ang="0">
                    <a:pos x="923" y="36"/>
                  </a:cxn>
                  <a:cxn ang="0">
                    <a:pos x="955" y="43"/>
                  </a:cxn>
                  <a:cxn ang="0">
                    <a:pos x="967" y="54"/>
                  </a:cxn>
                  <a:cxn ang="0">
                    <a:pos x="977" y="62"/>
                  </a:cxn>
                  <a:cxn ang="0">
                    <a:pos x="972" y="83"/>
                  </a:cxn>
                  <a:cxn ang="0">
                    <a:pos x="972" y="116"/>
                  </a:cxn>
                  <a:cxn ang="0">
                    <a:pos x="967" y="127"/>
                  </a:cxn>
                  <a:cxn ang="0">
                    <a:pos x="950" y="139"/>
                  </a:cxn>
                  <a:cxn ang="0">
                    <a:pos x="952" y="147"/>
                  </a:cxn>
                  <a:cxn ang="0">
                    <a:pos x="955" y="149"/>
                  </a:cxn>
                  <a:cxn ang="0">
                    <a:pos x="958" y="147"/>
                  </a:cxn>
                  <a:cxn ang="0">
                    <a:pos x="973" y="139"/>
                  </a:cxn>
                  <a:cxn ang="0">
                    <a:pos x="983" y="123"/>
                  </a:cxn>
                  <a:cxn ang="0">
                    <a:pos x="985" y="119"/>
                  </a:cxn>
                  <a:cxn ang="0">
                    <a:pos x="988" y="59"/>
                  </a:cxn>
                  <a:cxn ang="0">
                    <a:pos x="987" y="56"/>
                  </a:cxn>
                  <a:cxn ang="0">
                    <a:pos x="975" y="43"/>
                  </a:cxn>
                  <a:cxn ang="0">
                    <a:pos x="958" y="31"/>
                  </a:cxn>
                  <a:cxn ang="0">
                    <a:pos x="925" y="23"/>
                  </a:cxn>
                  <a:cxn ang="0">
                    <a:pos x="796" y="8"/>
                  </a:cxn>
                  <a:cxn ang="0">
                    <a:pos x="648" y="0"/>
                  </a:cxn>
                  <a:cxn ang="0">
                    <a:pos x="382" y="3"/>
                  </a:cxn>
                  <a:cxn ang="0">
                    <a:pos x="254" y="17"/>
                  </a:cxn>
                  <a:cxn ang="0">
                    <a:pos x="116" y="43"/>
                  </a:cxn>
                  <a:cxn ang="0">
                    <a:pos x="48" y="61"/>
                  </a:cxn>
                </a:cxnLst>
                <a:rect l="0" t="0" r="r" b="b"/>
                <a:pathLst>
                  <a:path w="988" h="149">
                    <a:moveTo>
                      <a:pt x="4" y="74"/>
                    </a:moveTo>
                    <a:lnTo>
                      <a:pt x="0" y="77"/>
                    </a:lnTo>
                    <a:lnTo>
                      <a:pt x="0" y="83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9" y="85"/>
                    </a:lnTo>
                    <a:lnTo>
                      <a:pt x="53" y="72"/>
                    </a:lnTo>
                    <a:lnTo>
                      <a:pt x="120" y="54"/>
                    </a:lnTo>
                    <a:lnTo>
                      <a:pt x="118" y="56"/>
                    </a:lnTo>
                    <a:lnTo>
                      <a:pt x="193" y="41"/>
                    </a:lnTo>
                    <a:lnTo>
                      <a:pt x="256" y="30"/>
                    </a:lnTo>
                    <a:lnTo>
                      <a:pt x="317" y="21"/>
                    </a:lnTo>
                    <a:lnTo>
                      <a:pt x="384" y="17"/>
                    </a:lnTo>
                    <a:lnTo>
                      <a:pt x="475" y="13"/>
                    </a:lnTo>
                    <a:lnTo>
                      <a:pt x="648" y="13"/>
                    </a:lnTo>
                    <a:lnTo>
                      <a:pt x="646" y="13"/>
                    </a:lnTo>
                    <a:lnTo>
                      <a:pt x="719" y="17"/>
                    </a:lnTo>
                    <a:lnTo>
                      <a:pt x="794" y="21"/>
                    </a:lnTo>
                    <a:lnTo>
                      <a:pt x="872" y="26"/>
                    </a:lnTo>
                    <a:lnTo>
                      <a:pt x="923" y="36"/>
                    </a:lnTo>
                    <a:lnTo>
                      <a:pt x="923" y="34"/>
                    </a:lnTo>
                    <a:lnTo>
                      <a:pt x="955" y="43"/>
                    </a:lnTo>
                    <a:lnTo>
                      <a:pt x="952" y="43"/>
                    </a:lnTo>
                    <a:lnTo>
                      <a:pt x="967" y="54"/>
                    </a:lnTo>
                    <a:lnTo>
                      <a:pt x="967" y="52"/>
                    </a:lnTo>
                    <a:lnTo>
                      <a:pt x="977" y="62"/>
                    </a:lnTo>
                    <a:lnTo>
                      <a:pt x="975" y="57"/>
                    </a:lnTo>
                    <a:lnTo>
                      <a:pt x="972" y="83"/>
                    </a:lnTo>
                    <a:lnTo>
                      <a:pt x="972" y="119"/>
                    </a:lnTo>
                    <a:lnTo>
                      <a:pt x="972" y="116"/>
                    </a:lnTo>
                    <a:lnTo>
                      <a:pt x="963" y="131"/>
                    </a:lnTo>
                    <a:lnTo>
                      <a:pt x="967" y="127"/>
                    </a:lnTo>
                    <a:lnTo>
                      <a:pt x="953" y="136"/>
                    </a:lnTo>
                    <a:lnTo>
                      <a:pt x="950" y="139"/>
                    </a:lnTo>
                    <a:lnTo>
                      <a:pt x="950" y="145"/>
                    </a:lnTo>
                    <a:lnTo>
                      <a:pt x="952" y="147"/>
                    </a:lnTo>
                    <a:lnTo>
                      <a:pt x="953" y="147"/>
                    </a:lnTo>
                    <a:lnTo>
                      <a:pt x="955" y="149"/>
                    </a:lnTo>
                    <a:lnTo>
                      <a:pt x="957" y="149"/>
                    </a:lnTo>
                    <a:lnTo>
                      <a:pt x="958" y="147"/>
                    </a:lnTo>
                    <a:lnTo>
                      <a:pt x="960" y="147"/>
                    </a:lnTo>
                    <a:lnTo>
                      <a:pt x="973" y="139"/>
                    </a:lnTo>
                    <a:lnTo>
                      <a:pt x="975" y="137"/>
                    </a:lnTo>
                    <a:lnTo>
                      <a:pt x="983" y="123"/>
                    </a:lnTo>
                    <a:lnTo>
                      <a:pt x="983" y="121"/>
                    </a:lnTo>
                    <a:lnTo>
                      <a:pt x="985" y="119"/>
                    </a:lnTo>
                    <a:lnTo>
                      <a:pt x="985" y="85"/>
                    </a:lnTo>
                    <a:lnTo>
                      <a:pt x="988" y="59"/>
                    </a:lnTo>
                    <a:lnTo>
                      <a:pt x="987" y="57"/>
                    </a:lnTo>
                    <a:lnTo>
                      <a:pt x="987" y="56"/>
                    </a:lnTo>
                    <a:lnTo>
                      <a:pt x="975" y="44"/>
                    </a:lnTo>
                    <a:lnTo>
                      <a:pt x="975" y="43"/>
                    </a:lnTo>
                    <a:lnTo>
                      <a:pt x="960" y="31"/>
                    </a:lnTo>
                    <a:lnTo>
                      <a:pt x="958" y="31"/>
                    </a:lnTo>
                    <a:lnTo>
                      <a:pt x="927" y="23"/>
                    </a:lnTo>
                    <a:lnTo>
                      <a:pt x="925" y="23"/>
                    </a:lnTo>
                    <a:lnTo>
                      <a:pt x="874" y="13"/>
                    </a:lnTo>
                    <a:lnTo>
                      <a:pt x="796" y="8"/>
                    </a:lnTo>
                    <a:lnTo>
                      <a:pt x="721" y="3"/>
                    </a:lnTo>
                    <a:lnTo>
                      <a:pt x="648" y="0"/>
                    </a:lnTo>
                    <a:lnTo>
                      <a:pt x="473" y="0"/>
                    </a:lnTo>
                    <a:lnTo>
                      <a:pt x="382" y="3"/>
                    </a:lnTo>
                    <a:lnTo>
                      <a:pt x="316" y="8"/>
                    </a:lnTo>
                    <a:lnTo>
                      <a:pt x="254" y="17"/>
                    </a:lnTo>
                    <a:lnTo>
                      <a:pt x="191" y="28"/>
                    </a:lnTo>
                    <a:lnTo>
                      <a:pt x="116" y="43"/>
                    </a:lnTo>
                    <a:lnTo>
                      <a:pt x="50" y="61"/>
                    </a:lnTo>
                    <a:lnTo>
                      <a:pt x="48" y="61"/>
                    </a:lnTo>
                    <a:lnTo>
                      <a:pt x="4" y="7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" name="Line 279">
              <a:extLst>
                <a:ext uri="{FF2B5EF4-FFF2-40B4-BE49-F238E27FC236}">
                  <a16:creationId xmlns:a16="http://schemas.microsoft.com/office/drawing/2014/main" id="{A987DCC7-E8E7-4555-9A50-20B13D2FCAD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106" y="2366"/>
              <a:ext cx="2717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ashDot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Oval 280" descr="Kleine Schachfelder">
              <a:extLst>
                <a:ext uri="{FF2B5EF4-FFF2-40B4-BE49-F238E27FC236}">
                  <a16:creationId xmlns:a16="http://schemas.microsoft.com/office/drawing/2014/main" id="{2A6D0100-1426-4F22-9DBA-FE1104D55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4" y="2160"/>
              <a:ext cx="336" cy="336"/>
            </a:xfrm>
            <a:prstGeom prst="ellipse">
              <a:avLst/>
            </a:prstGeom>
            <a:pattFill prst="smCheck">
              <a:fgClr>
                <a:schemeClr val="tx2"/>
              </a:fgClr>
              <a:bgClr>
                <a:srgbClr val="FFFFFF"/>
              </a:bgClr>
            </a:pattFill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281">
              <a:extLst>
                <a:ext uri="{FF2B5EF4-FFF2-40B4-BE49-F238E27FC236}">
                  <a16:creationId xmlns:a16="http://schemas.microsoft.com/office/drawing/2014/main" id="{44F7D6D2-CD51-4132-9C66-5C81279BE8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0" y="2336"/>
              <a:ext cx="76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1887873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A677B2-6A00-42DF-A20D-56C02A0103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3/R3 Classes EU 50 km/h</a:t>
            </a:r>
          </a:p>
          <a:p>
            <a:r>
              <a:rPr lang="en-US" dirty="0"/>
              <a:t>L3/R3 Classes SICE 50 km/h</a:t>
            </a:r>
          </a:p>
          <a:p>
            <a:r>
              <a:rPr lang="en-US" dirty="0"/>
              <a:t>L3/R3 Classes SIN-CAP 62 km/h, 27 </a:t>
            </a:r>
            <a:r>
              <a:rPr lang="en-US" dirty="0" err="1"/>
              <a:t>deg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A07F19-785B-446E-8859-F0E7DD472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3/R3 Classes</a:t>
            </a:r>
            <a:br>
              <a:rPr lang="en-US" dirty="0"/>
            </a:br>
            <a:r>
              <a:rPr lang="en-US" dirty="0"/>
              <a:t>Left/ Right EU 50/ SIN-CAP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77D97-694A-45C1-A8DC-FDA9B97BD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19050F-B983-468A-B620-68EAA9E171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BA5258-C04B-40F4-94E8-F21729B940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  <p:grpSp>
        <p:nvGrpSpPr>
          <p:cNvPr id="9" name="Group 3">
            <a:extLst>
              <a:ext uri="{FF2B5EF4-FFF2-40B4-BE49-F238E27FC236}">
                <a16:creationId xmlns:a16="http://schemas.microsoft.com/office/drawing/2014/main" id="{001B4BA6-5AB7-47BC-A58F-1567099BD68E}"/>
              </a:ext>
            </a:extLst>
          </p:cNvPr>
          <p:cNvGrpSpPr>
            <a:grpSpLocks/>
          </p:cNvGrpSpPr>
          <p:nvPr/>
        </p:nvGrpSpPr>
        <p:grpSpPr bwMode="auto">
          <a:xfrm>
            <a:off x="5716114" y="1674948"/>
            <a:ext cx="2521976" cy="2160239"/>
            <a:chOff x="2273" y="1008"/>
            <a:chExt cx="3199" cy="2717"/>
          </a:xfrm>
        </p:grpSpPr>
        <p:sp>
          <p:nvSpPr>
            <p:cNvPr id="10" name="Line 4">
              <a:extLst>
                <a:ext uri="{FF2B5EF4-FFF2-40B4-BE49-F238E27FC236}">
                  <a16:creationId xmlns:a16="http://schemas.microsoft.com/office/drawing/2014/main" id="{8683E3E0-BA68-4971-80D4-C73DD2880CA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872" y="944"/>
              <a:ext cx="1" cy="319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ashDot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" name="Group 5">
              <a:extLst>
                <a:ext uri="{FF2B5EF4-FFF2-40B4-BE49-F238E27FC236}">
                  <a16:creationId xmlns:a16="http://schemas.microsoft.com/office/drawing/2014/main" id="{3D61B13F-0B75-4C54-A330-83204120DFF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41" y="1104"/>
              <a:ext cx="1125" cy="2496"/>
              <a:chOff x="4347" y="1158"/>
              <a:chExt cx="1125" cy="2496"/>
            </a:xfrm>
          </p:grpSpPr>
          <p:sp>
            <p:nvSpPr>
              <p:cNvPr id="80" name="Freeform 6">
                <a:extLst>
                  <a:ext uri="{FF2B5EF4-FFF2-40B4-BE49-F238E27FC236}">
                    <a16:creationId xmlns:a16="http://schemas.microsoft.com/office/drawing/2014/main" id="{113E0A78-ACB6-4F8A-AEBC-72F31916476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8" y="1933"/>
                <a:ext cx="75" cy="657"/>
              </a:xfrm>
              <a:custGeom>
                <a:avLst/>
                <a:gdLst/>
                <a:ahLst/>
                <a:cxnLst>
                  <a:cxn ang="0">
                    <a:pos x="62" y="6"/>
                  </a:cxn>
                  <a:cxn ang="0">
                    <a:pos x="60" y="3"/>
                  </a:cxn>
                  <a:cxn ang="0">
                    <a:pos x="58" y="0"/>
                  </a:cxn>
                  <a:cxn ang="0">
                    <a:pos x="50" y="1"/>
                  </a:cxn>
                  <a:cxn ang="0">
                    <a:pos x="48" y="3"/>
                  </a:cxn>
                  <a:cxn ang="0">
                    <a:pos x="43" y="21"/>
                  </a:cxn>
                  <a:cxn ang="0">
                    <a:pos x="37" y="39"/>
                  </a:cxn>
                  <a:cxn ang="0">
                    <a:pos x="33" y="55"/>
                  </a:cxn>
                  <a:cxn ang="0">
                    <a:pos x="23" y="89"/>
                  </a:cxn>
                  <a:cxn ang="0">
                    <a:pos x="20" y="107"/>
                  </a:cxn>
                  <a:cxn ang="0">
                    <a:pos x="17" y="124"/>
                  </a:cxn>
                  <a:cxn ang="0">
                    <a:pos x="13" y="140"/>
                  </a:cxn>
                  <a:cxn ang="0">
                    <a:pos x="10" y="158"/>
                  </a:cxn>
                  <a:cxn ang="0">
                    <a:pos x="7" y="182"/>
                  </a:cxn>
                  <a:cxn ang="0">
                    <a:pos x="5" y="199"/>
                  </a:cxn>
                  <a:cxn ang="0">
                    <a:pos x="3" y="225"/>
                  </a:cxn>
                  <a:cxn ang="0">
                    <a:pos x="2" y="275"/>
                  </a:cxn>
                  <a:cxn ang="0">
                    <a:pos x="0" y="283"/>
                  </a:cxn>
                  <a:cxn ang="0">
                    <a:pos x="2" y="298"/>
                  </a:cxn>
                  <a:cxn ang="0">
                    <a:pos x="3" y="341"/>
                  </a:cxn>
                  <a:cxn ang="0">
                    <a:pos x="7" y="381"/>
                  </a:cxn>
                  <a:cxn ang="0">
                    <a:pos x="10" y="406"/>
                  </a:cxn>
                  <a:cxn ang="0">
                    <a:pos x="13" y="420"/>
                  </a:cxn>
                  <a:cxn ang="0">
                    <a:pos x="17" y="437"/>
                  </a:cxn>
                  <a:cxn ang="0">
                    <a:pos x="22" y="453"/>
                  </a:cxn>
                  <a:cxn ang="0">
                    <a:pos x="25" y="469"/>
                  </a:cxn>
                  <a:cxn ang="0">
                    <a:pos x="30" y="486"/>
                  </a:cxn>
                  <a:cxn ang="0">
                    <a:pos x="33" y="500"/>
                  </a:cxn>
                  <a:cxn ang="0">
                    <a:pos x="40" y="517"/>
                  </a:cxn>
                  <a:cxn ang="0">
                    <a:pos x="45" y="533"/>
                  </a:cxn>
                  <a:cxn ang="0">
                    <a:pos x="47" y="536"/>
                  </a:cxn>
                  <a:cxn ang="0">
                    <a:pos x="50" y="538"/>
                  </a:cxn>
                  <a:cxn ang="0">
                    <a:pos x="53" y="536"/>
                  </a:cxn>
                  <a:cxn ang="0">
                    <a:pos x="57" y="535"/>
                  </a:cxn>
                  <a:cxn ang="0">
                    <a:pos x="58" y="531"/>
                  </a:cxn>
                  <a:cxn ang="0">
                    <a:pos x="57" y="528"/>
                  </a:cxn>
                  <a:cxn ang="0">
                    <a:pos x="55" y="522"/>
                  </a:cxn>
                  <a:cxn ang="0">
                    <a:pos x="48" y="505"/>
                  </a:cxn>
                  <a:cxn ang="0">
                    <a:pos x="45" y="491"/>
                  </a:cxn>
                  <a:cxn ang="0">
                    <a:pos x="40" y="474"/>
                  </a:cxn>
                  <a:cxn ang="0">
                    <a:pos x="35" y="458"/>
                  </a:cxn>
                  <a:cxn ang="0">
                    <a:pos x="32" y="442"/>
                  </a:cxn>
                  <a:cxn ang="0">
                    <a:pos x="28" y="427"/>
                  </a:cxn>
                  <a:cxn ang="0">
                    <a:pos x="25" y="411"/>
                  </a:cxn>
                  <a:cxn ang="0">
                    <a:pos x="22" y="386"/>
                  </a:cxn>
                  <a:cxn ang="0">
                    <a:pos x="17" y="347"/>
                  </a:cxn>
                  <a:cxn ang="0">
                    <a:pos x="15" y="306"/>
                  </a:cxn>
                  <a:cxn ang="0">
                    <a:pos x="13" y="290"/>
                  </a:cxn>
                  <a:cxn ang="0">
                    <a:pos x="15" y="275"/>
                  </a:cxn>
                  <a:cxn ang="0">
                    <a:pos x="17" y="225"/>
                  </a:cxn>
                  <a:cxn ang="0">
                    <a:pos x="18" y="200"/>
                  </a:cxn>
                  <a:cxn ang="0">
                    <a:pos x="20" y="184"/>
                  </a:cxn>
                  <a:cxn ang="0">
                    <a:pos x="23" y="159"/>
                  </a:cxn>
                  <a:cxn ang="0">
                    <a:pos x="27" y="143"/>
                  </a:cxn>
                  <a:cxn ang="0">
                    <a:pos x="30" y="125"/>
                  </a:cxn>
                  <a:cxn ang="0">
                    <a:pos x="33" y="109"/>
                  </a:cxn>
                  <a:cxn ang="0">
                    <a:pos x="37" y="93"/>
                  </a:cxn>
                  <a:cxn ang="0">
                    <a:pos x="45" y="58"/>
                  </a:cxn>
                  <a:cxn ang="0">
                    <a:pos x="50" y="42"/>
                  </a:cxn>
                  <a:cxn ang="0">
                    <a:pos x="55" y="24"/>
                  </a:cxn>
                  <a:cxn ang="0">
                    <a:pos x="60" y="8"/>
                  </a:cxn>
                </a:cxnLst>
                <a:rect l="0" t="0" r="r" b="b"/>
                <a:pathLst>
                  <a:path w="62" h="538">
                    <a:moveTo>
                      <a:pt x="60" y="8"/>
                    </a:moveTo>
                    <a:lnTo>
                      <a:pt x="62" y="6"/>
                    </a:lnTo>
                    <a:lnTo>
                      <a:pt x="62" y="5"/>
                    </a:lnTo>
                    <a:lnTo>
                      <a:pt x="60" y="3"/>
                    </a:lnTo>
                    <a:lnTo>
                      <a:pt x="60" y="1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50" y="1"/>
                    </a:lnTo>
                    <a:lnTo>
                      <a:pt x="48" y="1"/>
                    </a:lnTo>
                    <a:lnTo>
                      <a:pt x="48" y="3"/>
                    </a:lnTo>
                    <a:lnTo>
                      <a:pt x="45" y="13"/>
                    </a:lnTo>
                    <a:lnTo>
                      <a:pt x="43" y="21"/>
                    </a:lnTo>
                    <a:lnTo>
                      <a:pt x="40" y="29"/>
                    </a:lnTo>
                    <a:lnTo>
                      <a:pt x="37" y="39"/>
                    </a:lnTo>
                    <a:lnTo>
                      <a:pt x="35" y="47"/>
                    </a:lnTo>
                    <a:lnTo>
                      <a:pt x="33" y="55"/>
                    </a:lnTo>
                    <a:lnTo>
                      <a:pt x="30" y="63"/>
                    </a:lnTo>
                    <a:lnTo>
                      <a:pt x="23" y="89"/>
                    </a:lnTo>
                    <a:lnTo>
                      <a:pt x="22" y="98"/>
                    </a:lnTo>
                    <a:lnTo>
                      <a:pt x="20" y="107"/>
                    </a:lnTo>
                    <a:lnTo>
                      <a:pt x="18" y="115"/>
                    </a:lnTo>
                    <a:lnTo>
                      <a:pt x="17" y="124"/>
                    </a:lnTo>
                    <a:lnTo>
                      <a:pt x="15" y="132"/>
                    </a:lnTo>
                    <a:lnTo>
                      <a:pt x="13" y="140"/>
                    </a:lnTo>
                    <a:lnTo>
                      <a:pt x="12" y="148"/>
                    </a:lnTo>
                    <a:lnTo>
                      <a:pt x="10" y="158"/>
                    </a:lnTo>
                    <a:lnTo>
                      <a:pt x="8" y="174"/>
                    </a:lnTo>
                    <a:lnTo>
                      <a:pt x="7" y="182"/>
                    </a:lnTo>
                    <a:lnTo>
                      <a:pt x="5" y="190"/>
                    </a:lnTo>
                    <a:lnTo>
                      <a:pt x="5" y="199"/>
                    </a:lnTo>
                    <a:lnTo>
                      <a:pt x="3" y="207"/>
                    </a:lnTo>
                    <a:lnTo>
                      <a:pt x="3" y="225"/>
                    </a:lnTo>
                    <a:lnTo>
                      <a:pt x="2" y="233"/>
                    </a:lnTo>
                    <a:lnTo>
                      <a:pt x="2" y="275"/>
                    </a:lnTo>
                    <a:lnTo>
                      <a:pt x="2" y="274"/>
                    </a:lnTo>
                    <a:lnTo>
                      <a:pt x="0" y="283"/>
                    </a:lnTo>
                    <a:lnTo>
                      <a:pt x="0" y="290"/>
                    </a:lnTo>
                    <a:lnTo>
                      <a:pt x="2" y="298"/>
                    </a:lnTo>
                    <a:lnTo>
                      <a:pt x="2" y="306"/>
                    </a:lnTo>
                    <a:lnTo>
                      <a:pt x="3" y="341"/>
                    </a:lnTo>
                    <a:lnTo>
                      <a:pt x="3" y="349"/>
                    </a:lnTo>
                    <a:lnTo>
                      <a:pt x="7" y="381"/>
                    </a:lnTo>
                    <a:lnTo>
                      <a:pt x="8" y="388"/>
                    </a:lnTo>
                    <a:lnTo>
                      <a:pt x="10" y="406"/>
                    </a:lnTo>
                    <a:lnTo>
                      <a:pt x="12" y="412"/>
                    </a:lnTo>
                    <a:lnTo>
                      <a:pt x="13" y="420"/>
                    </a:lnTo>
                    <a:lnTo>
                      <a:pt x="15" y="429"/>
                    </a:lnTo>
                    <a:lnTo>
                      <a:pt x="17" y="437"/>
                    </a:lnTo>
                    <a:lnTo>
                      <a:pt x="18" y="445"/>
                    </a:lnTo>
                    <a:lnTo>
                      <a:pt x="22" y="453"/>
                    </a:lnTo>
                    <a:lnTo>
                      <a:pt x="23" y="461"/>
                    </a:lnTo>
                    <a:lnTo>
                      <a:pt x="25" y="469"/>
                    </a:lnTo>
                    <a:lnTo>
                      <a:pt x="27" y="478"/>
                    </a:lnTo>
                    <a:lnTo>
                      <a:pt x="30" y="486"/>
                    </a:lnTo>
                    <a:lnTo>
                      <a:pt x="32" y="494"/>
                    </a:lnTo>
                    <a:lnTo>
                      <a:pt x="33" y="500"/>
                    </a:lnTo>
                    <a:lnTo>
                      <a:pt x="37" y="509"/>
                    </a:lnTo>
                    <a:lnTo>
                      <a:pt x="40" y="517"/>
                    </a:lnTo>
                    <a:lnTo>
                      <a:pt x="42" y="525"/>
                    </a:lnTo>
                    <a:lnTo>
                      <a:pt x="45" y="533"/>
                    </a:lnTo>
                    <a:lnTo>
                      <a:pt x="45" y="535"/>
                    </a:lnTo>
                    <a:lnTo>
                      <a:pt x="47" y="536"/>
                    </a:lnTo>
                    <a:lnTo>
                      <a:pt x="48" y="536"/>
                    </a:lnTo>
                    <a:lnTo>
                      <a:pt x="50" y="538"/>
                    </a:lnTo>
                    <a:lnTo>
                      <a:pt x="52" y="538"/>
                    </a:lnTo>
                    <a:lnTo>
                      <a:pt x="53" y="536"/>
                    </a:lnTo>
                    <a:lnTo>
                      <a:pt x="55" y="536"/>
                    </a:lnTo>
                    <a:lnTo>
                      <a:pt x="57" y="535"/>
                    </a:lnTo>
                    <a:lnTo>
                      <a:pt x="57" y="533"/>
                    </a:lnTo>
                    <a:lnTo>
                      <a:pt x="58" y="531"/>
                    </a:lnTo>
                    <a:lnTo>
                      <a:pt x="58" y="530"/>
                    </a:lnTo>
                    <a:lnTo>
                      <a:pt x="57" y="528"/>
                    </a:lnTo>
                    <a:lnTo>
                      <a:pt x="57" y="528"/>
                    </a:lnTo>
                    <a:lnTo>
                      <a:pt x="55" y="522"/>
                    </a:lnTo>
                    <a:lnTo>
                      <a:pt x="52" y="513"/>
                    </a:lnTo>
                    <a:lnTo>
                      <a:pt x="48" y="505"/>
                    </a:lnTo>
                    <a:lnTo>
                      <a:pt x="47" y="497"/>
                    </a:lnTo>
                    <a:lnTo>
                      <a:pt x="45" y="491"/>
                    </a:lnTo>
                    <a:lnTo>
                      <a:pt x="42" y="482"/>
                    </a:lnTo>
                    <a:lnTo>
                      <a:pt x="40" y="474"/>
                    </a:lnTo>
                    <a:lnTo>
                      <a:pt x="38" y="466"/>
                    </a:lnTo>
                    <a:lnTo>
                      <a:pt x="35" y="458"/>
                    </a:lnTo>
                    <a:lnTo>
                      <a:pt x="33" y="450"/>
                    </a:lnTo>
                    <a:lnTo>
                      <a:pt x="32" y="442"/>
                    </a:lnTo>
                    <a:lnTo>
                      <a:pt x="30" y="435"/>
                    </a:lnTo>
                    <a:lnTo>
                      <a:pt x="28" y="427"/>
                    </a:lnTo>
                    <a:lnTo>
                      <a:pt x="27" y="419"/>
                    </a:lnTo>
                    <a:lnTo>
                      <a:pt x="25" y="411"/>
                    </a:lnTo>
                    <a:lnTo>
                      <a:pt x="23" y="402"/>
                    </a:lnTo>
                    <a:lnTo>
                      <a:pt x="22" y="386"/>
                    </a:lnTo>
                    <a:lnTo>
                      <a:pt x="20" y="380"/>
                    </a:lnTo>
                    <a:lnTo>
                      <a:pt x="17" y="347"/>
                    </a:lnTo>
                    <a:lnTo>
                      <a:pt x="17" y="339"/>
                    </a:lnTo>
                    <a:lnTo>
                      <a:pt x="15" y="306"/>
                    </a:lnTo>
                    <a:lnTo>
                      <a:pt x="15" y="298"/>
                    </a:lnTo>
                    <a:lnTo>
                      <a:pt x="13" y="290"/>
                    </a:lnTo>
                    <a:lnTo>
                      <a:pt x="13" y="283"/>
                    </a:lnTo>
                    <a:lnTo>
                      <a:pt x="15" y="275"/>
                    </a:lnTo>
                    <a:lnTo>
                      <a:pt x="15" y="233"/>
                    </a:lnTo>
                    <a:lnTo>
                      <a:pt x="17" y="225"/>
                    </a:lnTo>
                    <a:lnTo>
                      <a:pt x="17" y="208"/>
                    </a:lnTo>
                    <a:lnTo>
                      <a:pt x="18" y="200"/>
                    </a:lnTo>
                    <a:lnTo>
                      <a:pt x="18" y="192"/>
                    </a:lnTo>
                    <a:lnTo>
                      <a:pt x="20" y="184"/>
                    </a:lnTo>
                    <a:lnTo>
                      <a:pt x="22" y="176"/>
                    </a:lnTo>
                    <a:lnTo>
                      <a:pt x="23" y="159"/>
                    </a:lnTo>
                    <a:lnTo>
                      <a:pt x="25" y="151"/>
                    </a:lnTo>
                    <a:lnTo>
                      <a:pt x="27" y="143"/>
                    </a:lnTo>
                    <a:lnTo>
                      <a:pt x="28" y="133"/>
                    </a:lnTo>
                    <a:lnTo>
                      <a:pt x="30" y="125"/>
                    </a:lnTo>
                    <a:lnTo>
                      <a:pt x="32" y="117"/>
                    </a:lnTo>
                    <a:lnTo>
                      <a:pt x="33" y="109"/>
                    </a:lnTo>
                    <a:lnTo>
                      <a:pt x="35" y="101"/>
                    </a:lnTo>
                    <a:lnTo>
                      <a:pt x="37" y="93"/>
                    </a:lnTo>
                    <a:lnTo>
                      <a:pt x="43" y="67"/>
                    </a:lnTo>
                    <a:lnTo>
                      <a:pt x="45" y="58"/>
                    </a:lnTo>
                    <a:lnTo>
                      <a:pt x="47" y="50"/>
                    </a:lnTo>
                    <a:lnTo>
                      <a:pt x="50" y="42"/>
                    </a:lnTo>
                    <a:lnTo>
                      <a:pt x="52" y="34"/>
                    </a:lnTo>
                    <a:lnTo>
                      <a:pt x="55" y="24"/>
                    </a:lnTo>
                    <a:lnTo>
                      <a:pt x="58" y="16"/>
                    </a:lnTo>
                    <a:lnTo>
                      <a:pt x="6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7">
                <a:extLst>
                  <a:ext uri="{FF2B5EF4-FFF2-40B4-BE49-F238E27FC236}">
                    <a16:creationId xmlns:a16="http://schemas.microsoft.com/office/drawing/2014/main" id="{3A7A10AF-9220-47E3-9F1B-156AB33BCFF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82" y="2058"/>
                <a:ext cx="375" cy="10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4"/>
                  </a:cxn>
                  <a:cxn ang="0">
                    <a:pos x="1" y="12"/>
                  </a:cxn>
                  <a:cxn ang="0">
                    <a:pos x="5" y="13"/>
                  </a:cxn>
                  <a:cxn ang="0">
                    <a:pos x="18" y="15"/>
                  </a:cxn>
                  <a:cxn ang="0">
                    <a:pos x="25" y="17"/>
                  </a:cxn>
                  <a:cxn ang="0">
                    <a:pos x="33" y="18"/>
                  </a:cxn>
                  <a:cxn ang="0">
                    <a:pos x="40" y="20"/>
                  </a:cxn>
                  <a:cxn ang="0">
                    <a:pos x="49" y="21"/>
                  </a:cxn>
                  <a:cxn ang="0">
                    <a:pos x="69" y="25"/>
                  </a:cxn>
                  <a:cxn ang="0">
                    <a:pos x="78" y="28"/>
                  </a:cxn>
                  <a:cxn ang="0">
                    <a:pos x="86" y="30"/>
                  </a:cxn>
                  <a:cxn ang="0">
                    <a:pos x="109" y="35"/>
                  </a:cxn>
                  <a:cxn ang="0">
                    <a:pos x="114" y="36"/>
                  </a:cxn>
                  <a:cxn ang="0">
                    <a:pos x="123" y="38"/>
                  </a:cxn>
                  <a:cxn ang="0">
                    <a:pos x="142" y="43"/>
                  </a:cxn>
                  <a:cxn ang="0">
                    <a:pos x="159" y="48"/>
                  </a:cxn>
                  <a:cxn ang="0">
                    <a:pos x="176" y="52"/>
                  </a:cxn>
                  <a:cxn ang="0">
                    <a:pos x="206" y="61"/>
                  </a:cxn>
                  <a:cxn ang="0">
                    <a:pos x="217" y="64"/>
                  </a:cxn>
                  <a:cxn ang="0">
                    <a:pos x="230" y="67"/>
                  </a:cxn>
                  <a:cxn ang="0">
                    <a:pos x="250" y="72"/>
                  </a:cxn>
                  <a:cxn ang="0">
                    <a:pos x="270" y="79"/>
                  </a:cxn>
                  <a:cxn ang="0">
                    <a:pos x="285" y="82"/>
                  </a:cxn>
                  <a:cxn ang="0">
                    <a:pos x="302" y="87"/>
                  </a:cxn>
                  <a:cxn ang="0">
                    <a:pos x="305" y="85"/>
                  </a:cxn>
                  <a:cxn ang="0">
                    <a:pos x="307" y="83"/>
                  </a:cxn>
                  <a:cxn ang="0">
                    <a:pos x="309" y="80"/>
                  </a:cxn>
                  <a:cxn ang="0">
                    <a:pos x="307" y="77"/>
                  </a:cxn>
                  <a:cxn ang="0">
                    <a:pos x="305" y="74"/>
                  </a:cxn>
                  <a:cxn ang="0">
                    <a:pos x="304" y="74"/>
                  </a:cxn>
                  <a:cxn ang="0">
                    <a:pos x="280" y="67"/>
                  </a:cxn>
                  <a:cxn ang="0">
                    <a:pos x="260" y="62"/>
                  </a:cxn>
                  <a:cxn ang="0">
                    <a:pos x="247" y="57"/>
                  </a:cxn>
                  <a:cxn ang="0">
                    <a:pos x="227" y="52"/>
                  </a:cxn>
                  <a:cxn ang="0">
                    <a:pos x="214" y="49"/>
                  </a:cxn>
                  <a:cxn ang="0">
                    <a:pos x="202" y="46"/>
                  </a:cxn>
                  <a:cxn ang="0">
                    <a:pos x="172" y="38"/>
                  </a:cxn>
                  <a:cxn ang="0">
                    <a:pos x="151" y="33"/>
                  </a:cxn>
                  <a:cxn ang="0">
                    <a:pos x="141" y="30"/>
                  </a:cxn>
                  <a:cxn ang="0">
                    <a:pos x="121" y="25"/>
                  </a:cxn>
                  <a:cxn ang="0">
                    <a:pos x="111" y="23"/>
                  </a:cxn>
                  <a:cxn ang="0">
                    <a:pos x="94" y="18"/>
                  </a:cxn>
                  <a:cxn ang="0">
                    <a:pos x="86" y="15"/>
                  </a:cxn>
                  <a:cxn ang="0">
                    <a:pos x="73" y="13"/>
                  </a:cxn>
                  <a:cxn ang="0">
                    <a:pos x="51" y="8"/>
                  </a:cxn>
                  <a:cxn ang="0">
                    <a:pos x="41" y="7"/>
                  </a:cxn>
                  <a:cxn ang="0">
                    <a:pos x="36" y="5"/>
                  </a:cxn>
                  <a:cxn ang="0">
                    <a:pos x="28" y="4"/>
                  </a:cxn>
                  <a:cxn ang="0">
                    <a:pos x="20" y="2"/>
                  </a:cxn>
                  <a:cxn ang="0">
                    <a:pos x="8" y="0"/>
                  </a:cxn>
                </a:cxnLst>
                <a:rect l="0" t="0" r="r" b="b"/>
                <a:pathLst>
                  <a:path w="309" h="87">
                    <a:moveTo>
                      <a:pt x="6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13" y="13"/>
                    </a:lnTo>
                    <a:lnTo>
                      <a:pt x="18" y="15"/>
                    </a:lnTo>
                    <a:lnTo>
                      <a:pt x="21" y="15"/>
                    </a:lnTo>
                    <a:lnTo>
                      <a:pt x="25" y="17"/>
                    </a:lnTo>
                    <a:lnTo>
                      <a:pt x="30" y="17"/>
                    </a:lnTo>
                    <a:lnTo>
                      <a:pt x="33" y="18"/>
                    </a:lnTo>
                    <a:lnTo>
                      <a:pt x="36" y="18"/>
                    </a:lnTo>
                    <a:lnTo>
                      <a:pt x="40" y="20"/>
                    </a:lnTo>
                    <a:lnTo>
                      <a:pt x="46" y="20"/>
                    </a:lnTo>
                    <a:lnTo>
                      <a:pt x="49" y="21"/>
                    </a:lnTo>
                    <a:lnTo>
                      <a:pt x="54" y="23"/>
                    </a:lnTo>
                    <a:lnTo>
                      <a:pt x="69" y="25"/>
                    </a:lnTo>
                    <a:lnTo>
                      <a:pt x="74" y="26"/>
                    </a:lnTo>
                    <a:lnTo>
                      <a:pt x="78" y="28"/>
                    </a:lnTo>
                    <a:lnTo>
                      <a:pt x="83" y="28"/>
                    </a:lnTo>
                    <a:lnTo>
                      <a:pt x="86" y="30"/>
                    </a:lnTo>
                    <a:lnTo>
                      <a:pt x="91" y="31"/>
                    </a:lnTo>
                    <a:lnTo>
                      <a:pt x="109" y="35"/>
                    </a:lnTo>
                    <a:lnTo>
                      <a:pt x="109" y="36"/>
                    </a:lnTo>
                    <a:lnTo>
                      <a:pt x="114" y="36"/>
                    </a:lnTo>
                    <a:lnTo>
                      <a:pt x="118" y="38"/>
                    </a:lnTo>
                    <a:lnTo>
                      <a:pt x="123" y="38"/>
                    </a:lnTo>
                    <a:lnTo>
                      <a:pt x="137" y="43"/>
                    </a:lnTo>
                    <a:lnTo>
                      <a:pt x="142" y="43"/>
                    </a:lnTo>
                    <a:lnTo>
                      <a:pt x="147" y="44"/>
                    </a:lnTo>
                    <a:lnTo>
                      <a:pt x="159" y="48"/>
                    </a:lnTo>
                    <a:lnTo>
                      <a:pt x="169" y="51"/>
                    </a:lnTo>
                    <a:lnTo>
                      <a:pt x="176" y="52"/>
                    </a:lnTo>
                    <a:lnTo>
                      <a:pt x="199" y="59"/>
                    </a:lnTo>
                    <a:lnTo>
                      <a:pt x="206" y="61"/>
                    </a:lnTo>
                    <a:lnTo>
                      <a:pt x="211" y="62"/>
                    </a:lnTo>
                    <a:lnTo>
                      <a:pt x="217" y="64"/>
                    </a:lnTo>
                    <a:lnTo>
                      <a:pt x="224" y="66"/>
                    </a:lnTo>
                    <a:lnTo>
                      <a:pt x="230" y="67"/>
                    </a:lnTo>
                    <a:lnTo>
                      <a:pt x="244" y="70"/>
                    </a:lnTo>
                    <a:lnTo>
                      <a:pt x="250" y="72"/>
                    </a:lnTo>
                    <a:lnTo>
                      <a:pt x="257" y="74"/>
                    </a:lnTo>
                    <a:lnTo>
                      <a:pt x="270" y="79"/>
                    </a:lnTo>
                    <a:lnTo>
                      <a:pt x="277" y="80"/>
                    </a:lnTo>
                    <a:lnTo>
                      <a:pt x="285" y="82"/>
                    </a:lnTo>
                    <a:lnTo>
                      <a:pt x="300" y="85"/>
                    </a:lnTo>
                    <a:lnTo>
                      <a:pt x="302" y="87"/>
                    </a:lnTo>
                    <a:lnTo>
                      <a:pt x="304" y="85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7" y="83"/>
                    </a:lnTo>
                    <a:lnTo>
                      <a:pt x="307" y="82"/>
                    </a:lnTo>
                    <a:lnTo>
                      <a:pt x="309" y="80"/>
                    </a:lnTo>
                    <a:lnTo>
                      <a:pt x="307" y="79"/>
                    </a:lnTo>
                    <a:lnTo>
                      <a:pt x="307" y="77"/>
                    </a:lnTo>
                    <a:lnTo>
                      <a:pt x="305" y="75"/>
                    </a:lnTo>
                    <a:lnTo>
                      <a:pt x="305" y="74"/>
                    </a:lnTo>
                    <a:lnTo>
                      <a:pt x="304" y="74"/>
                    </a:lnTo>
                    <a:lnTo>
                      <a:pt x="304" y="74"/>
                    </a:lnTo>
                    <a:lnTo>
                      <a:pt x="289" y="69"/>
                    </a:lnTo>
                    <a:lnTo>
                      <a:pt x="280" y="67"/>
                    </a:lnTo>
                    <a:lnTo>
                      <a:pt x="274" y="66"/>
                    </a:lnTo>
                    <a:lnTo>
                      <a:pt x="260" y="62"/>
                    </a:lnTo>
                    <a:lnTo>
                      <a:pt x="254" y="61"/>
                    </a:lnTo>
                    <a:lnTo>
                      <a:pt x="247" y="57"/>
                    </a:lnTo>
                    <a:lnTo>
                      <a:pt x="234" y="54"/>
                    </a:lnTo>
                    <a:lnTo>
                      <a:pt x="227" y="52"/>
                    </a:lnTo>
                    <a:lnTo>
                      <a:pt x="221" y="51"/>
                    </a:lnTo>
                    <a:lnTo>
                      <a:pt x="214" y="49"/>
                    </a:lnTo>
                    <a:lnTo>
                      <a:pt x="209" y="48"/>
                    </a:lnTo>
                    <a:lnTo>
                      <a:pt x="202" y="46"/>
                    </a:lnTo>
                    <a:lnTo>
                      <a:pt x="179" y="39"/>
                    </a:lnTo>
                    <a:lnTo>
                      <a:pt x="172" y="38"/>
                    </a:lnTo>
                    <a:lnTo>
                      <a:pt x="162" y="35"/>
                    </a:lnTo>
                    <a:lnTo>
                      <a:pt x="151" y="33"/>
                    </a:lnTo>
                    <a:lnTo>
                      <a:pt x="146" y="31"/>
                    </a:lnTo>
                    <a:lnTo>
                      <a:pt x="141" y="30"/>
                    </a:lnTo>
                    <a:lnTo>
                      <a:pt x="126" y="26"/>
                    </a:lnTo>
                    <a:lnTo>
                      <a:pt x="121" y="25"/>
                    </a:lnTo>
                    <a:lnTo>
                      <a:pt x="116" y="23"/>
                    </a:lnTo>
                    <a:lnTo>
                      <a:pt x="111" y="23"/>
                    </a:lnTo>
                    <a:lnTo>
                      <a:pt x="113" y="23"/>
                    </a:lnTo>
                    <a:lnTo>
                      <a:pt x="94" y="18"/>
                    </a:lnTo>
                    <a:lnTo>
                      <a:pt x="89" y="17"/>
                    </a:lnTo>
                    <a:lnTo>
                      <a:pt x="86" y="15"/>
                    </a:lnTo>
                    <a:lnTo>
                      <a:pt x="78" y="15"/>
                    </a:lnTo>
                    <a:lnTo>
                      <a:pt x="73" y="13"/>
                    </a:lnTo>
                    <a:lnTo>
                      <a:pt x="58" y="10"/>
                    </a:lnTo>
                    <a:lnTo>
                      <a:pt x="51" y="8"/>
                    </a:lnTo>
                    <a:lnTo>
                      <a:pt x="48" y="7"/>
                    </a:lnTo>
                    <a:lnTo>
                      <a:pt x="41" y="7"/>
                    </a:lnTo>
                    <a:lnTo>
                      <a:pt x="38" y="5"/>
                    </a:lnTo>
                    <a:lnTo>
                      <a:pt x="36" y="5"/>
                    </a:lnTo>
                    <a:lnTo>
                      <a:pt x="33" y="4"/>
                    </a:lnTo>
                    <a:lnTo>
                      <a:pt x="28" y="4"/>
                    </a:lnTo>
                    <a:lnTo>
                      <a:pt x="25" y="2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8">
                <a:extLst>
                  <a:ext uri="{FF2B5EF4-FFF2-40B4-BE49-F238E27FC236}">
                    <a16:creationId xmlns:a16="http://schemas.microsoft.com/office/drawing/2014/main" id="{CF9772E6-F384-4557-986F-8749F8851F2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39" y="1609"/>
                <a:ext cx="548" cy="822"/>
              </a:xfrm>
              <a:custGeom>
                <a:avLst/>
                <a:gdLst/>
                <a:ahLst/>
                <a:cxnLst>
                  <a:cxn ang="0">
                    <a:pos x="446" y="611"/>
                  </a:cxn>
                  <a:cxn ang="0">
                    <a:pos x="450" y="610"/>
                  </a:cxn>
                  <a:cxn ang="0">
                    <a:pos x="451" y="606"/>
                  </a:cxn>
                  <a:cxn ang="0">
                    <a:pos x="450" y="603"/>
                  </a:cxn>
                  <a:cxn ang="0">
                    <a:pos x="448" y="600"/>
                  </a:cxn>
                  <a:cxn ang="0">
                    <a:pos x="337" y="621"/>
                  </a:cxn>
                  <a:cxn ang="0">
                    <a:pos x="154" y="659"/>
                  </a:cxn>
                  <a:cxn ang="0">
                    <a:pos x="127" y="660"/>
                  </a:cxn>
                  <a:cxn ang="0">
                    <a:pos x="109" y="654"/>
                  </a:cxn>
                  <a:cxn ang="0">
                    <a:pos x="88" y="641"/>
                  </a:cxn>
                  <a:cxn ang="0">
                    <a:pos x="54" y="603"/>
                  </a:cxn>
                  <a:cxn ang="0">
                    <a:pos x="29" y="526"/>
                  </a:cxn>
                  <a:cxn ang="0">
                    <a:pos x="14" y="438"/>
                  </a:cxn>
                  <a:cxn ang="0">
                    <a:pos x="14" y="269"/>
                  </a:cxn>
                  <a:cxn ang="0">
                    <a:pos x="28" y="163"/>
                  </a:cxn>
                  <a:cxn ang="0">
                    <a:pos x="73" y="52"/>
                  </a:cxn>
                  <a:cxn ang="0">
                    <a:pos x="94" y="31"/>
                  </a:cxn>
                  <a:cxn ang="0">
                    <a:pos x="121" y="16"/>
                  </a:cxn>
                  <a:cxn ang="0">
                    <a:pos x="139" y="16"/>
                  </a:cxn>
                  <a:cxn ang="0">
                    <a:pos x="151" y="11"/>
                  </a:cxn>
                  <a:cxn ang="0">
                    <a:pos x="154" y="9"/>
                  </a:cxn>
                  <a:cxn ang="0">
                    <a:pos x="156" y="6"/>
                  </a:cxn>
                  <a:cxn ang="0">
                    <a:pos x="154" y="3"/>
                  </a:cxn>
                  <a:cxn ang="0">
                    <a:pos x="152" y="1"/>
                  </a:cxn>
                  <a:cxn ang="0">
                    <a:pos x="146" y="0"/>
                  </a:cxn>
                  <a:cxn ang="0">
                    <a:pos x="137" y="3"/>
                  </a:cxn>
                  <a:cxn ang="0">
                    <a:pos x="114" y="5"/>
                  </a:cxn>
                  <a:cxn ang="0">
                    <a:pos x="84" y="21"/>
                  </a:cxn>
                  <a:cxn ang="0">
                    <a:pos x="63" y="45"/>
                  </a:cxn>
                  <a:cxn ang="0">
                    <a:pos x="41" y="86"/>
                  </a:cxn>
                  <a:cxn ang="0">
                    <a:pos x="16" y="159"/>
                  </a:cxn>
                  <a:cxn ang="0">
                    <a:pos x="1" y="269"/>
                  </a:cxn>
                  <a:cxn ang="0">
                    <a:pos x="1" y="438"/>
                  </a:cxn>
                  <a:cxn ang="0">
                    <a:pos x="16" y="530"/>
                  </a:cxn>
                  <a:cxn ang="0">
                    <a:pos x="44" y="610"/>
                  </a:cxn>
                  <a:cxn ang="0">
                    <a:pos x="78" y="650"/>
                  </a:cxn>
                  <a:cxn ang="0">
                    <a:pos x="103" y="665"/>
                  </a:cxn>
                  <a:cxn ang="0">
                    <a:pos x="124" y="673"/>
                  </a:cxn>
                  <a:cxn ang="0">
                    <a:pos x="156" y="672"/>
                  </a:cxn>
                  <a:cxn ang="0">
                    <a:pos x="249" y="655"/>
                  </a:cxn>
                  <a:cxn ang="0">
                    <a:pos x="338" y="634"/>
                  </a:cxn>
                </a:cxnLst>
                <a:rect l="0" t="0" r="r" b="b"/>
                <a:pathLst>
                  <a:path w="451" h="673">
                    <a:moveTo>
                      <a:pt x="445" y="613"/>
                    </a:moveTo>
                    <a:lnTo>
                      <a:pt x="446" y="611"/>
                    </a:lnTo>
                    <a:lnTo>
                      <a:pt x="448" y="611"/>
                    </a:lnTo>
                    <a:lnTo>
                      <a:pt x="450" y="610"/>
                    </a:lnTo>
                    <a:lnTo>
                      <a:pt x="450" y="608"/>
                    </a:lnTo>
                    <a:lnTo>
                      <a:pt x="451" y="606"/>
                    </a:lnTo>
                    <a:lnTo>
                      <a:pt x="451" y="605"/>
                    </a:lnTo>
                    <a:lnTo>
                      <a:pt x="450" y="603"/>
                    </a:lnTo>
                    <a:lnTo>
                      <a:pt x="450" y="601"/>
                    </a:lnTo>
                    <a:lnTo>
                      <a:pt x="448" y="600"/>
                    </a:lnTo>
                    <a:lnTo>
                      <a:pt x="443" y="600"/>
                    </a:lnTo>
                    <a:lnTo>
                      <a:pt x="337" y="621"/>
                    </a:lnTo>
                    <a:lnTo>
                      <a:pt x="245" y="642"/>
                    </a:lnTo>
                    <a:lnTo>
                      <a:pt x="154" y="659"/>
                    </a:lnTo>
                    <a:lnTo>
                      <a:pt x="124" y="660"/>
                    </a:lnTo>
                    <a:lnTo>
                      <a:pt x="127" y="660"/>
                    </a:lnTo>
                    <a:lnTo>
                      <a:pt x="107" y="654"/>
                    </a:lnTo>
                    <a:lnTo>
                      <a:pt x="109" y="654"/>
                    </a:lnTo>
                    <a:lnTo>
                      <a:pt x="86" y="639"/>
                    </a:lnTo>
                    <a:lnTo>
                      <a:pt x="88" y="641"/>
                    </a:lnTo>
                    <a:lnTo>
                      <a:pt x="54" y="601"/>
                    </a:lnTo>
                    <a:lnTo>
                      <a:pt x="54" y="603"/>
                    </a:lnTo>
                    <a:lnTo>
                      <a:pt x="28" y="525"/>
                    </a:lnTo>
                    <a:lnTo>
                      <a:pt x="29" y="526"/>
                    </a:lnTo>
                    <a:lnTo>
                      <a:pt x="14" y="437"/>
                    </a:lnTo>
                    <a:lnTo>
                      <a:pt x="14" y="438"/>
                    </a:lnTo>
                    <a:lnTo>
                      <a:pt x="13" y="349"/>
                    </a:lnTo>
                    <a:lnTo>
                      <a:pt x="14" y="269"/>
                    </a:lnTo>
                    <a:lnTo>
                      <a:pt x="29" y="161"/>
                    </a:lnTo>
                    <a:lnTo>
                      <a:pt x="28" y="163"/>
                    </a:lnTo>
                    <a:lnTo>
                      <a:pt x="53" y="91"/>
                    </a:lnTo>
                    <a:lnTo>
                      <a:pt x="73" y="52"/>
                    </a:lnTo>
                    <a:lnTo>
                      <a:pt x="73" y="53"/>
                    </a:lnTo>
                    <a:lnTo>
                      <a:pt x="94" y="31"/>
                    </a:lnTo>
                    <a:lnTo>
                      <a:pt x="93" y="32"/>
                    </a:lnTo>
                    <a:lnTo>
                      <a:pt x="121" y="16"/>
                    </a:lnTo>
                    <a:lnTo>
                      <a:pt x="117" y="18"/>
                    </a:lnTo>
                    <a:lnTo>
                      <a:pt x="139" y="16"/>
                    </a:lnTo>
                    <a:lnTo>
                      <a:pt x="141" y="14"/>
                    </a:lnTo>
                    <a:lnTo>
                      <a:pt x="151" y="11"/>
                    </a:lnTo>
                    <a:lnTo>
                      <a:pt x="152" y="11"/>
                    </a:lnTo>
                    <a:lnTo>
                      <a:pt x="154" y="9"/>
                    </a:lnTo>
                    <a:lnTo>
                      <a:pt x="154" y="8"/>
                    </a:lnTo>
                    <a:lnTo>
                      <a:pt x="156" y="6"/>
                    </a:lnTo>
                    <a:lnTo>
                      <a:pt x="156" y="5"/>
                    </a:lnTo>
                    <a:lnTo>
                      <a:pt x="154" y="3"/>
                    </a:lnTo>
                    <a:lnTo>
                      <a:pt x="154" y="1"/>
                    </a:lnTo>
                    <a:lnTo>
                      <a:pt x="152" y="1"/>
                    </a:lnTo>
                    <a:lnTo>
                      <a:pt x="151" y="0"/>
                    </a:lnTo>
                    <a:lnTo>
                      <a:pt x="146" y="0"/>
                    </a:lnTo>
                    <a:lnTo>
                      <a:pt x="136" y="3"/>
                    </a:lnTo>
                    <a:lnTo>
                      <a:pt x="137" y="3"/>
                    </a:lnTo>
                    <a:lnTo>
                      <a:pt x="116" y="5"/>
                    </a:lnTo>
                    <a:lnTo>
                      <a:pt x="114" y="5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63" y="45"/>
                    </a:lnTo>
                    <a:lnTo>
                      <a:pt x="61" y="47"/>
                    </a:lnTo>
                    <a:lnTo>
                      <a:pt x="41" y="86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" y="267"/>
                    </a:lnTo>
                    <a:lnTo>
                      <a:pt x="1" y="269"/>
                    </a:lnTo>
                    <a:lnTo>
                      <a:pt x="0" y="349"/>
                    </a:lnTo>
                    <a:lnTo>
                      <a:pt x="1" y="438"/>
                    </a:lnTo>
                    <a:lnTo>
                      <a:pt x="16" y="528"/>
                    </a:lnTo>
                    <a:lnTo>
                      <a:pt x="16" y="530"/>
                    </a:lnTo>
                    <a:lnTo>
                      <a:pt x="43" y="608"/>
                    </a:lnTo>
                    <a:lnTo>
                      <a:pt x="44" y="610"/>
                    </a:lnTo>
                    <a:lnTo>
                      <a:pt x="78" y="649"/>
                    </a:lnTo>
                    <a:lnTo>
                      <a:pt x="78" y="650"/>
                    </a:lnTo>
                    <a:lnTo>
                      <a:pt x="101" y="665"/>
                    </a:lnTo>
                    <a:lnTo>
                      <a:pt x="103" y="665"/>
                    </a:lnTo>
                    <a:lnTo>
                      <a:pt x="122" y="672"/>
                    </a:lnTo>
                    <a:lnTo>
                      <a:pt x="124" y="673"/>
                    </a:lnTo>
                    <a:lnTo>
                      <a:pt x="126" y="673"/>
                    </a:lnTo>
                    <a:lnTo>
                      <a:pt x="156" y="672"/>
                    </a:lnTo>
                    <a:lnTo>
                      <a:pt x="247" y="655"/>
                    </a:lnTo>
                    <a:lnTo>
                      <a:pt x="249" y="655"/>
                    </a:lnTo>
                    <a:lnTo>
                      <a:pt x="340" y="634"/>
                    </a:lnTo>
                    <a:lnTo>
                      <a:pt x="338" y="634"/>
                    </a:lnTo>
                    <a:lnTo>
                      <a:pt x="445" y="6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9">
                <a:extLst>
                  <a:ext uri="{FF2B5EF4-FFF2-40B4-BE49-F238E27FC236}">
                    <a16:creationId xmlns:a16="http://schemas.microsoft.com/office/drawing/2014/main" id="{28C09D2B-3200-4202-8558-AB764EB5102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642"/>
                <a:ext cx="764" cy="36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2" y="16"/>
                  </a:cxn>
                  <a:cxn ang="0">
                    <a:pos x="2" y="17"/>
                  </a:cxn>
                  <a:cxn ang="0">
                    <a:pos x="0" y="19"/>
                  </a:cxn>
                  <a:cxn ang="0">
                    <a:pos x="0" y="26"/>
                  </a:cxn>
                  <a:cxn ang="0">
                    <a:pos x="2" y="27"/>
                  </a:cxn>
                  <a:cxn ang="0">
                    <a:pos x="3" y="27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110" y="19"/>
                  </a:cxn>
                  <a:cxn ang="0">
                    <a:pos x="237" y="13"/>
                  </a:cxn>
                  <a:cxn ang="0">
                    <a:pos x="362" y="13"/>
                  </a:cxn>
                  <a:cxn ang="0">
                    <a:pos x="360" y="13"/>
                  </a:cxn>
                  <a:cxn ang="0">
                    <a:pos x="516" y="19"/>
                  </a:cxn>
                  <a:cxn ang="0">
                    <a:pos x="619" y="24"/>
                  </a:cxn>
                  <a:cxn ang="0">
                    <a:pos x="619" y="11"/>
                  </a:cxn>
                  <a:cxn ang="0">
                    <a:pos x="611" y="13"/>
                  </a:cxn>
                  <a:cxn ang="0">
                    <a:pos x="609" y="13"/>
                  </a:cxn>
                  <a:cxn ang="0">
                    <a:pos x="608" y="14"/>
                  </a:cxn>
                  <a:cxn ang="0">
                    <a:pos x="606" y="14"/>
                  </a:cxn>
                  <a:cxn ang="0">
                    <a:pos x="606" y="21"/>
                  </a:cxn>
                  <a:cxn ang="0">
                    <a:pos x="608" y="22"/>
                  </a:cxn>
                  <a:cxn ang="0">
                    <a:pos x="608" y="24"/>
                  </a:cxn>
                  <a:cxn ang="0">
                    <a:pos x="609" y="24"/>
                  </a:cxn>
                  <a:cxn ang="0">
                    <a:pos x="611" y="26"/>
                  </a:cxn>
                  <a:cxn ang="0">
                    <a:pos x="613" y="26"/>
                  </a:cxn>
                  <a:cxn ang="0">
                    <a:pos x="621" y="24"/>
                  </a:cxn>
                  <a:cxn ang="0">
                    <a:pos x="623" y="22"/>
                  </a:cxn>
                  <a:cxn ang="0">
                    <a:pos x="624" y="22"/>
                  </a:cxn>
                  <a:cxn ang="0">
                    <a:pos x="626" y="21"/>
                  </a:cxn>
                  <a:cxn ang="0">
                    <a:pos x="626" y="19"/>
                  </a:cxn>
                  <a:cxn ang="0">
                    <a:pos x="628" y="17"/>
                  </a:cxn>
                  <a:cxn ang="0">
                    <a:pos x="628" y="16"/>
                  </a:cxn>
                  <a:cxn ang="0">
                    <a:pos x="626" y="14"/>
                  </a:cxn>
                  <a:cxn ang="0">
                    <a:pos x="626" y="13"/>
                  </a:cxn>
                  <a:cxn ang="0">
                    <a:pos x="624" y="11"/>
                  </a:cxn>
                  <a:cxn ang="0">
                    <a:pos x="621" y="11"/>
                  </a:cxn>
                  <a:cxn ang="0">
                    <a:pos x="518" y="6"/>
                  </a:cxn>
                  <a:cxn ang="0">
                    <a:pos x="362" y="0"/>
                  </a:cxn>
                  <a:cxn ang="0">
                    <a:pos x="236" y="0"/>
                  </a:cxn>
                  <a:cxn ang="0">
                    <a:pos x="108" y="6"/>
                  </a:cxn>
                  <a:cxn ang="0">
                    <a:pos x="5" y="16"/>
                  </a:cxn>
                </a:cxnLst>
                <a:rect l="0" t="0" r="r" b="b"/>
                <a:pathLst>
                  <a:path w="628" h="29">
                    <a:moveTo>
                      <a:pt x="5" y="16"/>
                    </a:moveTo>
                    <a:lnTo>
                      <a:pt x="2" y="16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27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110" y="19"/>
                    </a:lnTo>
                    <a:lnTo>
                      <a:pt x="237" y="13"/>
                    </a:lnTo>
                    <a:lnTo>
                      <a:pt x="362" y="13"/>
                    </a:lnTo>
                    <a:lnTo>
                      <a:pt x="360" y="13"/>
                    </a:lnTo>
                    <a:lnTo>
                      <a:pt x="516" y="19"/>
                    </a:lnTo>
                    <a:lnTo>
                      <a:pt x="619" y="24"/>
                    </a:lnTo>
                    <a:lnTo>
                      <a:pt x="619" y="11"/>
                    </a:lnTo>
                    <a:lnTo>
                      <a:pt x="611" y="13"/>
                    </a:lnTo>
                    <a:lnTo>
                      <a:pt x="609" y="13"/>
                    </a:lnTo>
                    <a:lnTo>
                      <a:pt x="608" y="14"/>
                    </a:lnTo>
                    <a:lnTo>
                      <a:pt x="606" y="14"/>
                    </a:lnTo>
                    <a:lnTo>
                      <a:pt x="606" y="21"/>
                    </a:lnTo>
                    <a:lnTo>
                      <a:pt x="608" y="22"/>
                    </a:lnTo>
                    <a:lnTo>
                      <a:pt x="608" y="24"/>
                    </a:lnTo>
                    <a:lnTo>
                      <a:pt x="609" y="24"/>
                    </a:lnTo>
                    <a:lnTo>
                      <a:pt x="611" y="26"/>
                    </a:lnTo>
                    <a:lnTo>
                      <a:pt x="613" y="26"/>
                    </a:lnTo>
                    <a:lnTo>
                      <a:pt x="621" y="24"/>
                    </a:lnTo>
                    <a:lnTo>
                      <a:pt x="623" y="22"/>
                    </a:lnTo>
                    <a:lnTo>
                      <a:pt x="624" y="22"/>
                    </a:lnTo>
                    <a:lnTo>
                      <a:pt x="626" y="21"/>
                    </a:lnTo>
                    <a:lnTo>
                      <a:pt x="626" y="19"/>
                    </a:lnTo>
                    <a:lnTo>
                      <a:pt x="628" y="17"/>
                    </a:lnTo>
                    <a:lnTo>
                      <a:pt x="628" y="16"/>
                    </a:lnTo>
                    <a:lnTo>
                      <a:pt x="626" y="14"/>
                    </a:lnTo>
                    <a:lnTo>
                      <a:pt x="626" y="13"/>
                    </a:lnTo>
                    <a:lnTo>
                      <a:pt x="624" y="11"/>
                    </a:lnTo>
                    <a:lnTo>
                      <a:pt x="621" y="11"/>
                    </a:lnTo>
                    <a:lnTo>
                      <a:pt x="518" y="6"/>
                    </a:lnTo>
                    <a:lnTo>
                      <a:pt x="362" y="0"/>
                    </a:lnTo>
                    <a:lnTo>
                      <a:pt x="236" y="0"/>
                    </a:lnTo>
                    <a:lnTo>
                      <a:pt x="108" y="6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10">
                <a:extLst>
                  <a:ext uri="{FF2B5EF4-FFF2-40B4-BE49-F238E27FC236}">
                    <a16:creationId xmlns:a16="http://schemas.microsoft.com/office/drawing/2014/main" id="{07B70DA4-1593-4F2C-8ECB-E33C8CF91F0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40" y="3061"/>
                <a:ext cx="95" cy="2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70" y="18"/>
                  </a:cxn>
                  <a:cxn ang="0">
                    <a:pos x="72" y="18"/>
                  </a:cxn>
                  <a:cxn ang="0">
                    <a:pos x="73" y="16"/>
                  </a:cxn>
                  <a:cxn ang="0">
                    <a:pos x="75" y="16"/>
                  </a:cxn>
                  <a:cxn ang="0">
                    <a:pos x="77" y="15"/>
                  </a:cxn>
                  <a:cxn ang="0">
                    <a:pos x="77" y="13"/>
                  </a:cxn>
                  <a:cxn ang="0">
                    <a:pos x="78" y="11"/>
                  </a:cxn>
                  <a:cxn ang="0">
                    <a:pos x="78" y="10"/>
                  </a:cxn>
                  <a:cxn ang="0">
                    <a:pos x="77" y="8"/>
                  </a:cxn>
                  <a:cxn ang="0">
                    <a:pos x="77" y="6"/>
                  </a:cxn>
                  <a:cxn ang="0">
                    <a:pos x="75" y="5"/>
                  </a:cxn>
                  <a:cxn ang="0">
                    <a:pos x="72" y="5"/>
                  </a:cxn>
                  <a:cxn ang="0">
                    <a:pos x="7" y="0"/>
                  </a:cxn>
                </a:cxnLst>
                <a:rect l="0" t="0" r="r" b="b"/>
                <a:pathLst>
                  <a:path w="78" h="18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70" y="18"/>
                    </a:lnTo>
                    <a:lnTo>
                      <a:pt x="72" y="18"/>
                    </a:lnTo>
                    <a:lnTo>
                      <a:pt x="73" y="16"/>
                    </a:lnTo>
                    <a:lnTo>
                      <a:pt x="75" y="16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78" y="11"/>
                    </a:lnTo>
                    <a:lnTo>
                      <a:pt x="78" y="10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5" y="5"/>
                    </a:lnTo>
                    <a:lnTo>
                      <a:pt x="72" y="5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11">
                <a:extLst>
                  <a:ext uri="{FF2B5EF4-FFF2-40B4-BE49-F238E27FC236}">
                    <a16:creationId xmlns:a16="http://schemas.microsoft.com/office/drawing/2014/main" id="{0AFAD622-3A9E-42A6-86BE-924AC766850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379"/>
                <a:ext cx="854" cy="65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63" y="23"/>
                  </a:cxn>
                  <a:cxn ang="0">
                    <a:pos x="120" y="28"/>
                  </a:cxn>
                  <a:cxn ang="0">
                    <a:pos x="198" y="34"/>
                  </a:cxn>
                  <a:cxn ang="0">
                    <a:pos x="200" y="34"/>
                  </a:cxn>
                  <a:cxn ang="0">
                    <a:pos x="297" y="36"/>
                  </a:cxn>
                  <a:cxn ang="0">
                    <a:pos x="409" y="38"/>
                  </a:cxn>
                  <a:cxn ang="0">
                    <a:pos x="525" y="38"/>
                  </a:cxn>
                  <a:cxn ang="0">
                    <a:pos x="621" y="34"/>
                  </a:cxn>
                  <a:cxn ang="0">
                    <a:pos x="689" y="33"/>
                  </a:cxn>
                  <a:cxn ang="0">
                    <a:pos x="683" y="26"/>
                  </a:cxn>
                  <a:cxn ang="0">
                    <a:pos x="686" y="132"/>
                  </a:cxn>
                  <a:cxn ang="0">
                    <a:pos x="689" y="243"/>
                  </a:cxn>
                  <a:cxn ang="0">
                    <a:pos x="686" y="375"/>
                  </a:cxn>
                  <a:cxn ang="0">
                    <a:pos x="686" y="374"/>
                  </a:cxn>
                  <a:cxn ang="0">
                    <a:pos x="683" y="470"/>
                  </a:cxn>
                  <a:cxn ang="0">
                    <a:pos x="678" y="532"/>
                  </a:cxn>
                  <a:cxn ang="0">
                    <a:pos x="678" y="535"/>
                  </a:cxn>
                  <a:cxn ang="0">
                    <a:pos x="679" y="537"/>
                  </a:cxn>
                  <a:cxn ang="0">
                    <a:pos x="679" y="538"/>
                  </a:cxn>
                  <a:cxn ang="0">
                    <a:pos x="681" y="538"/>
                  </a:cxn>
                  <a:cxn ang="0">
                    <a:pos x="683" y="540"/>
                  </a:cxn>
                  <a:cxn ang="0">
                    <a:pos x="684" y="540"/>
                  </a:cxn>
                  <a:cxn ang="0">
                    <a:pos x="686" y="538"/>
                  </a:cxn>
                  <a:cxn ang="0">
                    <a:pos x="688" y="538"/>
                  </a:cxn>
                  <a:cxn ang="0">
                    <a:pos x="689" y="537"/>
                  </a:cxn>
                  <a:cxn ang="0">
                    <a:pos x="689" y="535"/>
                  </a:cxn>
                  <a:cxn ang="0">
                    <a:pos x="691" y="533"/>
                  </a:cxn>
                  <a:cxn ang="0">
                    <a:pos x="696" y="471"/>
                  </a:cxn>
                  <a:cxn ang="0">
                    <a:pos x="699" y="375"/>
                  </a:cxn>
                  <a:cxn ang="0">
                    <a:pos x="703" y="243"/>
                  </a:cxn>
                  <a:cxn ang="0">
                    <a:pos x="699" y="132"/>
                  </a:cxn>
                  <a:cxn ang="0">
                    <a:pos x="699" y="131"/>
                  </a:cxn>
                  <a:cxn ang="0">
                    <a:pos x="696" y="25"/>
                  </a:cxn>
                  <a:cxn ang="0">
                    <a:pos x="693" y="21"/>
                  </a:cxn>
                  <a:cxn ang="0">
                    <a:pos x="693" y="20"/>
                  </a:cxn>
                  <a:cxn ang="0">
                    <a:pos x="689" y="20"/>
                  </a:cxn>
                  <a:cxn ang="0">
                    <a:pos x="621" y="21"/>
                  </a:cxn>
                  <a:cxn ang="0">
                    <a:pos x="620" y="21"/>
                  </a:cxn>
                  <a:cxn ang="0">
                    <a:pos x="523" y="25"/>
                  </a:cxn>
                  <a:cxn ang="0">
                    <a:pos x="525" y="25"/>
                  </a:cxn>
                  <a:cxn ang="0">
                    <a:pos x="409" y="25"/>
                  </a:cxn>
                  <a:cxn ang="0">
                    <a:pos x="297" y="23"/>
                  </a:cxn>
                  <a:cxn ang="0">
                    <a:pos x="200" y="21"/>
                  </a:cxn>
                  <a:cxn ang="0">
                    <a:pos x="121" y="15"/>
                  </a:cxn>
                  <a:cxn ang="0">
                    <a:pos x="65" y="10"/>
                  </a:cxn>
                  <a:cxn ang="0">
                    <a:pos x="7" y="0"/>
                  </a:cxn>
                </a:cxnLst>
                <a:rect l="0" t="0" r="r" b="b"/>
                <a:pathLst>
                  <a:path w="703" h="540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63" y="23"/>
                    </a:lnTo>
                    <a:lnTo>
                      <a:pt x="120" y="28"/>
                    </a:lnTo>
                    <a:lnTo>
                      <a:pt x="198" y="34"/>
                    </a:lnTo>
                    <a:lnTo>
                      <a:pt x="200" y="34"/>
                    </a:lnTo>
                    <a:lnTo>
                      <a:pt x="297" y="36"/>
                    </a:lnTo>
                    <a:lnTo>
                      <a:pt x="409" y="38"/>
                    </a:lnTo>
                    <a:lnTo>
                      <a:pt x="525" y="38"/>
                    </a:lnTo>
                    <a:lnTo>
                      <a:pt x="621" y="34"/>
                    </a:lnTo>
                    <a:lnTo>
                      <a:pt x="689" y="33"/>
                    </a:lnTo>
                    <a:lnTo>
                      <a:pt x="683" y="26"/>
                    </a:lnTo>
                    <a:lnTo>
                      <a:pt x="686" y="132"/>
                    </a:lnTo>
                    <a:lnTo>
                      <a:pt x="689" y="243"/>
                    </a:lnTo>
                    <a:lnTo>
                      <a:pt x="686" y="375"/>
                    </a:lnTo>
                    <a:lnTo>
                      <a:pt x="686" y="374"/>
                    </a:lnTo>
                    <a:lnTo>
                      <a:pt x="683" y="470"/>
                    </a:lnTo>
                    <a:lnTo>
                      <a:pt x="678" y="532"/>
                    </a:lnTo>
                    <a:lnTo>
                      <a:pt x="678" y="535"/>
                    </a:lnTo>
                    <a:lnTo>
                      <a:pt x="679" y="537"/>
                    </a:lnTo>
                    <a:lnTo>
                      <a:pt x="679" y="538"/>
                    </a:lnTo>
                    <a:lnTo>
                      <a:pt x="681" y="538"/>
                    </a:lnTo>
                    <a:lnTo>
                      <a:pt x="683" y="540"/>
                    </a:lnTo>
                    <a:lnTo>
                      <a:pt x="684" y="540"/>
                    </a:lnTo>
                    <a:lnTo>
                      <a:pt x="686" y="538"/>
                    </a:lnTo>
                    <a:lnTo>
                      <a:pt x="688" y="538"/>
                    </a:lnTo>
                    <a:lnTo>
                      <a:pt x="689" y="537"/>
                    </a:lnTo>
                    <a:lnTo>
                      <a:pt x="689" y="535"/>
                    </a:lnTo>
                    <a:lnTo>
                      <a:pt x="691" y="533"/>
                    </a:lnTo>
                    <a:lnTo>
                      <a:pt x="696" y="471"/>
                    </a:lnTo>
                    <a:lnTo>
                      <a:pt x="699" y="375"/>
                    </a:lnTo>
                    <a:lnTo>
                      <a:pt x="703" y="243"/>
                    </a:lnTo>
                    <a:lnTo>
                      <a:pt x="699" y="132"/>
                    </a:lnTo>
                    <a:lnTo>
                      <a:pt x="699" y="131"/>
                    </a:lnTo>
                    <a:lnTo>
                      <a:pt x="696" y="25"/>
                    </a:lnTo>
                    <a:lnTo>
                      <a:pt x="693" y="21"/>
                    </a:lnTo>
                    <a:lnTo>
                      <a:pt x="693" y="20"/>
                    </a:lnTo>
                    <a:lnTo>
                      <a:pt x="689" y="20"/>
                    </a:lnTo>
                    <a:lnTo>
                      <a:pt x="621" y="21"/>
                    </a:lnTo>
                    <a:lnTo>
                      <a:pt x="620" y="21"/>
                    </a:lnTo>
                    <a:lnTo>
                      <a:pt x="523" y="25"/>
                    </a:lnTo>
                    <a:lnTo>
                      <a:pt x="525" y="25"/>
                    </a:lnTo>
                    <a:lnTo>
                      <a:pt x="409" y="25"/>
                    </a:lnTo>
                    <a:lnTo>
                      <a:pt x="297" y="23"/>
                    </a:lnTo>
                    <a:lnTo>
                      <a:pt x="200" y="21"/>
                    </a:lnTo>
                    <a:lnTo>
                      <a:pt x="121" y="15"/>
                    </a:lnTo>
                    <a:lnTo>
                      <a:pt x="65" y="1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12">
                <a:extLst>
                  <a:ext uri="{FF2B5EF4-FFF2-40B4-BE49-F238E27FC236}">
                    <a16:creationId xmlns:a16="http://schemas.microsoft.com/office/drawing/2014/main" id="{290A2250-C91A-449E-8E68-191845B592E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67" y="2820"/>
                <a:ext cx="57" cy="637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3" y="13"/>
                  </a:cxn>
                  <a:cxn ang="0">
                    <a:pos x="5" y="15"/>
                  </a:cxn>
                  <a:cxn ang="0">
                    <a:pos x="7" y="15"/>
                  </a:cxn>
                  <a:cxn ang="0">
                    <a:pos x="35" y="13"/>
                  </a:cxn>
                  <a:cxn ang="0">
                    <a:pos x="28" y="7"/>
                  </a:cxn>
                  <a:cxn ang="0">
                    <a:pos x="30" y="103"/>
                  </a:cxn>
                  <a:cxn ang="0">
                    <a:pos x="33" y="184"/>
                  </a:cxn>
                  <a:cxn ang="0">
                    <a:pos x="33" y="279"/>
                  </a:cxn>
                  <a:cxn ang="0">
                    <a:pos x="30" y="386"/>
                  </a:cxn>
                  <a:cxn ang="0">
                    <a:pos x="30" y="385"/>
                  </a:cxn>
                  <a:cxn ang="0">
                    <a:pos x="27" y="462"/>
                  </a:cxn>
                  <a:cxn ang="0">
                    <a:pos x="22" y="514"/>
                  </a:cxn>
                  <a:cxn ang="0">
                    <a:pos x="22" y="517"/>
                  </a:cxn>
                  <a:cxn ang="0">
                    <a:pos x="23" y="519"/>
                  </a:cxn>
                  <a:cxn ang="0">
                    <a:pos x="23" y="520"/>
                  </a:cxn>
                  <a:cxn ang="0">
                    <a:pos x="25" y="520"/>
                  </a:cxn>
                  <a:cxn ang="0">
                    <a:pos x="27" y="522"/>
                  </a:cxn>
                  <a:cxn ang="0">
                    <a:pos x="28" y="522"/>
                  </a:cxn>
                  <a:cxn ang="0">
                    <a:pos x="30" y="520"/>
                  </a:cxn>
                  <a:cxn ang="0">
                    <a:pos x="32" y="520"/>
                  </a:cxn>
                  <a:cxn ang="0">
                    <a:pos x="33" y="519"/>
                  </a:cxn>
                  <a:cxn ang="0">
                    <a:pos x="33" y="517"/>
                  </a:cxn>
                  <a:cxn ang="0">
                    <a:pos x="35" y="515"/>
                  </a:cxn>
                  <a:cxn ang="0">
                    <a:pos x="40" y="463"/>
                  </a:cxn>
                  <a:cxn ang="0">
                    <a:pos x="43" y="386"/>
                  </a:cxn>
                  <a:cxn ang="0">
                    <a:pos x="47" y="279"/>
                  </a:cxn>
                  <a:cxn ang="0">
                    <a:pos x="47" y="183"/>
                  </a:cxn>
                  <a:cxn ang="0">
                    <a:pos x="43" y="101"/>
                  </a:cxn>
                  <a:cxn ang="0">
                    <a:pos x="43" y="103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2"/>
                  </a:cxn>
                  <a:cxn ang="0">
                    <a:pos x="37" y="0"/>
                  </a:cxn>
                  <a:cxn ang="0">
                    <a:pos x="33" y="0"/>
                  </a:cxn>
                  <a:cxn ang="0">
                    <a:pos x="5" y="2"/>
                  </a:cxn>
                </a:cxnLst>
                <a:rect l="0" t="0" r="r" b="b"/>
                <a:pathLst>
                  <a:path w="47" h="522">
                    <a:moveTo>
                      <a:pt x="5" y="2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5" y="15"/>
                    </a:lnTo>
                    <a:lnTo>
                      <a:pt x="7" y="15"/>
                    </a:lnTo>
                    <a:lnTo>
                      <a:pt x="35" y="13"/>
                    </a:lnTo>
                    <a:lnTo>
                      <a:pt x="28" y="7"/>
                    </a:lnTo>
                    <a:lnTo>
                      <a:pt x="30" y="103"/>
                    </a:lnTo>
                    <a:lnTo>
                      <a:pt x="33" y="184"/>
                    </a:lnTo>
                    <a:lnTo>
                      <a:pt x="33" y="279"/>
                    </a:lnTo>
                    <a:lnTo>
                      <a:pt x="30" y="386"/>
                    </a:lnTo>
                    <a:lnTo>
                      <a:pt x="30" y="385"/>
                    </a:lnTo>
                    <a:lnTo>
                      <a:pt x="27" y="462"/>
                    </a:lnTo>
                    <a:lnTo>
                      <a:pt x="22" y="514"/>
                    </a:lnTo>
                    <a:lnTo>
                      <a:pt x="22" y="517"/>
                    </a:lnTo>
                    <a:lnTo>
                      <a:pt x="23" y="519"/>
                    </a:lnTo>
                    <a:lnTo>
                      <a:pt x="23" y="520"/>
                    </a:lnTo>
                    <a:lnTo>
                      <a:pt x="25" y="520"/>
                    </a:lnTo>
                    <a:lnTo>
                      <a:pt x="27" y="522"/>
                    </a:lnTo>
                    <a:lnTo>
                      <a:pt x="28" y="522"/>
                    </a:lnTo>
                    <a:lnTo>
                      <a:pt x="30" y="520"/>
                    </a:lnTo>
                    <a:lnTo>
                      <a:pt x="32" y="520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5" y="515"/>
                    </a:lnTo>
                    <a:lnTo>
                      <a:pt x="40" y="463"/>
                    </a:lnTo>
                    <a:lnTo>
                      <a:pt x="43" y="386"/>
                    </a:lnTo>
                    <a:lnTo>
                      <a:pt x="47" y="279"/>
                    </a:lnTo>
                    <a:lnTo>
                      <a:pt x="47" y="183"/>
                    </a:lnTo>
                    <a:lnTo>
                      <a:pt x="43" y="101"/>
                    </a:lnTo>
                    <a:lnTo>
                      <a:pt x="43" y="103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13">
                <a:extLst>
                  <a:ext uri="{FF2B5EF4-FFF2-40B4-BE49-F238E27FC236}">
                    <a16:creationId xmlns:a16="http://schemas.microsoft.com/office/drawing/2014/main" id="{B0E238A8-D057-491E-9C72-040857DC6C0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6" y="2977"/>
                <a:ext cx="468" cy="725"/>
              </a:xfrm>
              <a:custGeom>
                <a:avLst/>
                <a:gdLst/>
                <a:ahLst/>
                <a:cxnLst>
                  <a:cxn ang="0">
                    <a:pos x="3" y="540"/>
                  </a:cxn>
                  <a:cxn ang="0">
                    <a:pos x="0" y="550"/>
                  </a:cxn>
                  <a:cxn ang="0">
                    <a:pos x="3" y="551"/>
                  </a:cxn>
                  <a:cxn ang="0">
                    <a:pos x="6" y="553"/>
                  </a:cxn>
                  <a:cxn ang="0">
                    <a:pos x="30" y="553"/>
                  </a:cxn>
                  <a:cxn ang="0">
                    <a:pos x="157" y="571"/>
                  </a:cxn>
                  <a:cxn ang="0">
                    <a:pos x="269" y="589"/>
                  </a:cxn>
                  <a:cxn ang="0">
                    <a:pos x="302" y="594"/>
                  </a:cxn>
                  <a:cxn ang="0">
                    <a:pos x="305" y="592"/>
                  </a:cxn>
                  <a:cxn ang="0">
                    <a:pos x="327" y="559"/>
                  </a:cxn>
                  <a:cxn ang="0">
                    <a:pos x="345" y="514"/>
                  </a:cxn>
                  <a:cxn ang="0">
                    <a:pos x="362" y="471"/>
                  </a:cxn>
                  <a:cxn ang="0">
                    <a:pos x="382" y="369"/>
                  </a:cxn>
                  <a:cxn ang="0">
                    <a:pos x="385" y="284"/>
                  </a:cxn>
                  <a:cxn ang="0">
                    <a:pos x="368" y="140"/>
                  </a:cxn>
                  <a:cxn ang="0">
                    <a:pos x="348" y="78"/>
                  </a:cxn>
                  <a:cxn ang="0">
                    <a:pos x="325" y="26"/>
                  </a:cxn>
                  <a:cxn ang="0">
                    <a:pos x="309" y="2"/>
                  </a:cxn>
                  <a:cxn ang="0">
                    <a:pos x="305" y="0"/>
                  </a:cxn>
                  <a:cxn ang="0">
                    <a:pos x="244" y="8"/>
                  </a:cxn>
                  <a:cxn ang="0">
                    <a:pos x="99" y="26"/>
                  </a:cxn>
                  <a:cxn ang="0">
                    <a:pos x="33" y="31"/>
                  </a:cxn>
                  <a:cxn ang="0">
                    <a:pos x="31" y="34"/>
                  </a:cxn>
                  <a:cxn ang="0">
                    <a:pos x="33" y="42"/>
                  </a:cxn>
                  <a:cxn ang="0">
                    <a:pos x="36" y="44"/>
                  </a:cxn>
                  <a:cxn ang="0">
                    <a:pos x="101" y="39"/>
                  </a:cxn>
                  <a:cxn ang="0">
                    <a:pos x="245" y="21"/>
                  </a:cxn>
                  <a:cxn ang="0">
                    <a:pos x="297" y="10"/>
                  </a:cxn>
                  <a:cxn ang="0">
                    <a:pos x="314" y="31"/>
                  </a:cxn>
                  <a:cxn ang="0">
                    <a:pos x="355" y="144"/>
                  </a:cxn>
                  <a:cxn ang="0">
                    <a:pos x="368" y="223"/>
                  </a:cxn>
                  <a:cxn ang="0">
                    <a:pos x="372" y="284"/>
                  </a:cxn>
                  <a:cxn ang="0">
                    <a:pos x="357" y="431"/>
                  </a:cxn>
                  <a:cxn ang="0">
                    <a:pos x="348" y="468"/>
                  </a:cxn>
                  <a:cxn ang="0">
                    <a:pos x="315" y="553"/>
                  </a:cxn>
                  <a:cxn ang="0">
                    <a:pos x="295" y="582"/>
                  </a:cxn>
                  <a:cxn ang="0">
                    <a:pos x="270" y="576"/>
                  </a:cxn>
                  <a:cxn ang="0">
                    <a:pos x="159" y="558"/>
                  </a:cxn>
                  <a:cxn ang="0">
                    <a:pos x="31" y="540"/>
                  </a:cxn>
                </a:cxnLst>
                <a:rect l="0" t="0" r="r" b="b"/>
                <a:pathLst>
                  <a:path w="385" h="594">
                    <a:moveTo>
                      <a:pt x="6" y="540"/>
                    </a:moveTo>
                    <a:lnTo>
                      <a:pt x="3" y="540"/>
                    </a:lnTo>
                    <a:lnTo>
                      <a:pt x="0" y="543"/>
                    </a:lnTo>
                    <a:lnTo>
                      <a:pt x="0" y="550"/>
                    </a:lnTo>
                    <a:lnTo>
                      <a:pt x="1" y="550"/>
                    </a:lnTo>
                    <a:lnTo>
                      <a:pt x="3" y="551"/>
                    </a:lnTo>
                    <a:lnTo>
                      <a:pt x="5" y="551"/>
                    </a:lnTo>
                    <a:lnTo>
                      <a:pt x="6" y="553"/>
                    </a:lnTo>
                    <a:lnTo>
                      <a:pt x="31" y="553"/>
                    </a:lnTo>
                    <a:lnTo>
                      <a:pt x="30" y="553"/>
                    </a:lnTo>
                    <a:lnTo>
                      <a:pt x="94" y="561"/>
                    </a:lnTo>
                    <a:lnTo>
                      <a:pt x="157" y="571"/>
                    </a:lnTo>
                    <a:lnTo>
                      <a:pt x="207" y="579"/>
                    </a:lnTo>
                    <a:lnTo>
                      <a:pt x="269" y="589"/>
                    </a:lnTo>
                    <a:lnTo>
                      <a:pt x="300" y="594"/>
                    </a:lnTo>
                    <a:lnTo>
                      <a:pt x="302" y="594"/>
                    </a:lnTo>
                    <a:lnTo>
                      <a:pt x="304" y="592"/>
                    </a:lnTo>
                    <a:lnTo>
                      <a:pt x="305" y="592"/>
                    </a:lnTo>
                    <a:lnTo>
                      <a:pt x="307" y="590"/>
                    </a:lnTo>
                    <a:lnTo>
                      <a:pt x="327" y="559"/>
                    </a:lnTo>
                    <a:lnTo>
                      <a:pt x="327" y="558"/>
                    </a:lnTo>
                    <a:lnTo>
                      <a:pt x="345" y="514"/>
                    </a:lnTo>
                    <a:lnTo>
                      <a:pt x="360" y="473"/>
                    </a:lnTo>
                    <a:lnTo>
                      <a:pt x="362" y="471"/>
                    </a:lnTo>
                    <a:lnTo>
                      <a:pt x="370" y="432"/>
                    </a:lnTo>
                    <a:lnTo>
                      <a:pt x="382" y="369"/>
                    </a:lnTo>
                    <a:lnTo>
                      <a:pt x="385" y="285"/>
                    </a:lnTo>
                    <a:lnTo>
                      <a:pt x="385" y="284"/>
                    </a:lnTo>
                    <a:lnTo>
                      <a:pt x="382" y="222"/>
                    </a:lnTo>
                    <a:lnTo>
                      <a:pt x="368" y="140"/>
                    </a:lnTo>
                    <a:lnTo>
                      <a:pt x="367" y="140"/>
                    </a:lnTo>
                    <a:lnTo>
                      <a:pt x="348" y="78"/>
                    </a:lnTo>
                    <a:lnTo>
                      <a:pt x="348" y="77"/>
                    </a:lnTo>
                    <a:lnTo>
                      <a:pt x="325" y="26"/>
                    </a:lnTo>
                    <a:lnTo>
                      <a:pt x="325" y="24"/>
                    </a:lnTo>
                    <a:lnTo>
                      <a:pt x="309" y="2"/>
                    </a:lnTo>
                    <a:lnTo>
                      <a:pt x="307" y="2"/>
                    </a:lnTo>
                    <a:lnTo>
                      <a:pt x="305" y="0"/>
                    </a:lnTo>
                    <a:lnTo>
                      <a:pt x="302" y="0"/>
                    </a:lnTo>
                    <a:lnTo>
                      <a:pt x="244" y="8"/>
                    </a:lnTo>
                    <a:lnTo>
                      <a:pt x="169" y="18"/>
                    </a:lnTo>
                    <a:lnTo>
                      <a:pt x="99" y="26"/>
                    </a:lnTo>
                    <a:lnTo>
                      <a:pt x="36" y="31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3" y="42"/>
                    </a:lnTo>
                    <a:lnTo>
                      <a:pt x="35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101" y="39"/>
                    </a:lnTo>
                    <a:lnTo>
                      <a:pt x="171" y="31"/>
                    </a:lnTo>
                    <a:lnTo>
                      <a:pt x="245" y="21"/>
                    </a:lnTo>
                    <a:lnTo>
                      <a:pt x="304" y="13"/>
                    </a:lnTo>
                    <a:lnTo>
                      <a:pt x="297" y="10"/>
                    </a:lnTo>
                    <a:lnTo>
                      <a:pt x="314" y="33"/>
                    </a:lnTo>
                    <a:lnTo>
                      <a:pt x="314" y="31"/>
                    </a:lnTo>
                    <a:lnTo>
                      <a:pt x="337" y="82"/>
                    </a:lnTo>
                    <a:lnTo>
                      <a:pt x="355" y="144"/>
                    </a:lnTo>
                    <a:lnTo>
                      <a:pt x="355" y="142"/>
                    </a:lnTo>
                    <a:lnTo>
                      <a:pt x="368" y="223"/>
                    </a:lnTo>
                    <a:lnTo>
                      <a:pt x="372" y="285"/>
                    </a:lnTo>
                    <a:lnTo>
                      <a:pt x="372" y="284"/>
                    </a:lnTo>
                    <a:lnTo>
                      <a:pt x="368" y="367"/>
                    </a:lnTo>
                    <a:lnTo>
                      <a:pt x="357" y="431"/>
                    </a:lnTo>
                    <a:lnTo>
                      <a:pt x="348" y="470"/>
                    </a:lnTo>
                    <a:lnTo>
                      <a:pt x="348" y="468"/>
                    </a:lnTo>
                    <a:lnTo>
                      <a:pt x="333" y="509"/>
                    </a:lnTo>
                    <a:lnTo>
                      <a:pt x="315" y="553"/>
                    </a:lnTo>
                    <a:lnTo>
                      <a:pt x="315" y="551"/>
                    </a:lnTo>
                    <a:lnTo>
                      <a:pt x="295" y="582"/>
                    </a:lnTo>
                    <a:lnTo>
                      <a:pt x="302" y="581"/>
                    </a:lnTo>
                    <a:lnTo>
                      <a:pt x="270" y="576"/>
                    </a:lnTo>
                    <a:lnTo>
                      <a:pt x="209" y="566"/>
                    </a:lnTo>
                    <a:lnTo>
                      <a:pt x="159" y="558"/>
                    </a:lnTo>
                    <a:lnTo>
                      <a:pt x="96" y="548"/>
                    </a:lnTo>
                    <a:lnTo>
                      <a:pt x="31" y="540"/>
                    </a:lnTo>
                    <a:lnTo>
                      <a:pt x="6" y="5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14">
                <a:extLst>
                  <a:ext uri="{FF2B5EF4-FFF2-40B4-BE49-F238E27FC236}">
                    <a16:creationId xmlns:a16="http://schemas.microsoft.com/office/drawing/2014/main" id="{ECB849FC-69E5-4817-AF76-2BDADA7F1B0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30" y="2364"/>
                <a:ext cx="1546" cy="1033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10"/>
                  </a:cxn>
                  <a:cxn ang="0">
                    <a:pos x="14" y="11"/>
                  </a:cxn>
                  <a:cxn ang="0">
                    <a:pos x="17" y="13"/>
                  </a:cxn>
                  <a:cxn ang="0">
                    <a:pos x="376" y="18"/>
                  </a:cxn>
                  <a:cxn ang="0">
                    <a:pos x="711" y="24"/>
                  </a:cxn>
                  <a:cxn ang="0">
                    <a:pos x="937" y="24"/>
                  </a:cxn>
                  <a:cxn ang="0">
                    <a:pos x="1095" y="41"/>
                  </a:cxn>
                  <a:cxn ang="0">
                    <a:pos x="1158" y="55"/>
                  </a:cxn>
                  <a:cxn ang="0">
                    <a:pos x="1189" y="73"/>
                  </a:cxn>
                  <a:cxn ang="0">
                    <a:pos x="1208" y="91"/>
                  </a:cxn>
                  <a:cxn ang="0">
                    <a:pos x="1223" y="126"/>
                  </a:cxn>
                  <a:cxn ang="0">
                    <a:pos x="1236" y="176"/>
                  </a:cxn>
                  <a:cxn ang="0">
                    <a:pos x="1259" y="385"/>
                  </a:cxn>
                  <a:cxn ang="0">
                    <a:pos x="1259" y="437"/>
                  </a:cxn>
                  <a:cxn ang="0">
                    <a:pos x="1244" y="620"/>
                  </a:cxn>
                  <a:cxn ang="0">
                    <a:pos x="1214" y="750"/>
                  </a:cxn>
                  <a:cxn ang="0">
                    <a:pos x="1203" y="773"/>
                  </a:cxn>
                  <a:cxn ang="0">
                    <a:pos x="1183" y="794"/>
                  </a:cxn>
                  <a:cxn ang="0">
                    <a:pos x="1161" y="806"/>
                  </a:cxn>
                  <a:cxn ang="0">
                    <a:pos x="1128" y="815"/>
                  </a:cxn>
                  <a:cxn ang="0">
                    <a:pos x="990" y="832"/>
                  </a:cxn>
                  <a:cxn ang="0">
                    <a:pos x="856" y="833"/>
                  </a:cxn>
                  <a:cxn ang="0">
                    <a:pos x="704" y="828"/>
                  </a:cxn>
                  <a:cxn ang="0">
                    <a:pos x="198" y="827"/>
                  </a:cxn>
                  <a:cxn ang="0">
                    <a:pos x="4" y="820"/>
                  </a:cxn>
                  <a:cxn ang="0">
                    <a:pos x="0" y="830"/>
                  </a:cxn>
                  <a:cxn ang="0">
                    <a:pos x="4" y="832"/>
                  </a:cxn>
                  <a:cxn ang="0">
                    <a:pos x="7" y="833"/>
                  </a:cxn>
                  <a:cxn ang="0">
                    <a:pos x="72" y="833"/>
                  </a:cxn>
                  <a:cxn ang="0">
                    <a:pos x="494" y="840"/>
                  </a:cxn>
                  <a:cxn ang="0">
                    <a:pos x="703" y="842"/>
                  </a:cxn>
                  <a:cxn ang="0">
                    <a:pos x="856" y="846"/>
                  </a:cxn>
                  <a:cxn ang="0">
                    <a:pos x="1075" y="840"/>
                  </a:cxn>
                  <a:cxn ang="0">
                    <a:pos x="1131" y="827"/>
                  </a:cxn>
                  <a:cxn ang="0">
                    <a:pos x="1168" y="817"/>
                  </a:cxn>
                  <a:cxn ang="0">
                    <a:pos x="1193" y="802"/>
                  </a:cxn>
                  <a:cxn ang="0">
                    <a:pos x="1214" y="778"/>
                  </a:cxn>
                  <a:cxn ang="0">
                    <a:pos x="1242" y="696"/>
                  </a:cxn>
                  <a:cxn ang="0">
                    <a:pos x="1257" y="621"/>
                  </a:cxn>
                  <a:cxn ang="0">
                    <a:pos x="1272" y="439"/>
                  </a:cxn>
                  <a:cxn ang="0">
                    <a:pos x="1261" y="235"/>
                  </a:cxn>
                  <a:cxn ang="0">
                    <a:pos x="1236" y="122"/>
                  </a:cxn>
                  <a:cxn ang="0">
                    <a:pos x="1218" y="85"/>
                  </a:cxn>
                  <a:cxn ang="0">
                    <a:pos x="1196" y="62"/>
                  </a:cxn>
                  <a:cxn ang="0">
                    <a:pos x="1161" y="44"/>
                  </a:cxn>
                  <a:cxn ang="0">
                    <a:pos x="1096" y="28"/>
                  </a:cxn>
                  <a:cxn ang="0">
                    <a:pos x="939" y="11"/>
                  </a:cxn>
                  <a:cxn ang="0">
                    <a:pos x="552" y="8"/>
                  </a:cxn>
                  <a:cxn ang="0">
                    <a:pos x="173" y="3"/>
                  </a:cxn>
                </a:cxnLst>
                <a:rect l="0" t="0" r="r" b="b"/>
                <a:pathLst>
                  <a:path w="1272" h="846">
                    <a:moveTo>
                      <a:pt x="17" y="0"/>
                    </a:moveTo>
                    <a:lnTo>
                      <a:pt x="14" y="0"/>
                    </a:lnTo>
                    <a:lnTo>
                      <a:pt x="10" y="3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3"/>
                    </a:lnTo>
                    <a:lnTo>
                      <a:pt x="173" y="16"/>
                    </a:lnTo>
                    <a:lnTo>
                      <a:pt x="376" y="18"/>
                    </a:lnTo>
                    <a:lnTo>
                      <a:pt x="552" y="21"/>
                    </a:lnTo>
                    <a:lnTo>
                      <a:pt x="711" y="24"/>
                    </a:lnTo>
                    <a:lnTo>
                      <a:pt x="939" y="24"/>
                    </a:lnTo>
                    <a:lnTo>
                      <a:pt x="937" y="24"/>
                    </a:lnTo>
                    <a:lnTo>
                      <a:pt x="1035" y="31"/>
                    </a:lnTo>
                    <a:lnTo>
                      <a:pt x="1095" y="41"/>
                    </a:lnTo>
                    <a:lnTo>
                      <a:pt x="1095" y="39"/>
                    </a:lnTo>
                    <a:lnTo>
                      <a:pt x="1158" y="55"/>
                    </a:lnTo>
                    <a:lnTo>
                      <a:pt x="1156" y="55"/>
                    </a:lnTo>
                    <a:lnTo>
                      <a:pt x="1189" y="73"/>
                    </a:lnTo>
                    <a:lnTo>
                      <a:pt x="1188" y="72"/>
                    </a:lnTo>
                    <a:lnTo>
                      <a:pt x="1208" y="91"/>
                    </a:lnTo>
                    <a:lnTo>
                      <a:pt x="1206" y="90"/>
                    </a:lnTo>
                    <a:lnTo>
                      <a:pt x="1223" y="126"/>
                    </a:lnTo>
                    <a:lnTo>
                      <a:pt x="1236" y="178"/>
                    </a:lnTo>
                    <a:lnTo>
                      <a:pt x="1236" y="176"/>
                    </a:lnTo>
                    <a:lnTo>
                      <a:pt x="1247" y="236"/>
                    </a:lnTo>
                    <a:lnTo>
                      <a:pt x="1259" y="385"/>
                    </a:lnTo>
                    <a:lnTo>
                      <a:pt x="1259" y="439"/>
                    </a:lnTo>
                    <a:lnTo>
                      <a:pt x="1259" y="437"/>
                    </a:lnTo>
                    <a:lnTo>
                      <a:pt x="1252" y="546"/>
                    </a:lnTo>
                    <a:lnTo>
                      <a:pt x="1244" y="620"/>
                    </a:lnTo>
                    <a:lnTo>
                      <a:pt x="1231" y="693"/>
                    </a:lnTo>
                    <a:lnTo>
                      <a:pt x="1214" y="750"/>
                    </a:lnTo>
                    <a:lnTo>
                      <a:pt x="1214" y="749"/>
                    </a:lnTo>
                    <a:lnTo>
                      <a:pt x="1203" y="773"/>
                    </a:lnTo>
                    <a:lnTo>
                      <a:pt x="1204" y="771"/>
                    </a:lnTo>
                    <a:lnTo>
                      <a:pt x="1183" y="794"/>
                    </a:lnTo>
                    <a:lnTo>
                      <a:pt x="1184" y="793"/>
                    </a:lnTo>
                    <a:lnTo>
                      <a:pt x="1161" y="806"/>
                    </a:lnTo>
                    <a:lnTo>
                      <a:pt x="1163" y="806"/>
                    </a:lnTo>
                    <a:lnTo>
                      <a:pt x="1128" y="815"/>
                    </a:lnTo>
                    <a:lnTo>
                      <a:pt x="1073" y="827"/>
                    </a:lnTo>
                    <a:lnTo>
                      <a:pt x="990" y="832"/>
                    </a:lnTo>
                    <a:lnTo>
                      <a:pt x="992" y="832"/>
                    </a:lnTo>
                    <a:lnTo>
                      <a:pt x="856" y="833"/>
                    </a:lnTo>
                    <a:lnTo>
                      <a:pt x="789" y="833"/>
                    </a:lnTo>
                    <a:lnTo>
                      <a:pt x="704" y="828"/>
                    </a:lnTo>
                    <a:lnTo>
                      <a:pt x="494" y="827"/>
                    </a:lnTo>
                    <a:lnTo>
                      <a:pt x="198" y="827"/>
                    </a:lnTo>
                    <a:lnTo>
                      <a:pt x="74" y="820"/>
                    </a:lnTo>
                    <a:lnTo>
                      <a:pt x="4" y="820"/>
                    </a:lnTo>
                    <a:lnTo>
                      <a:pt x="0" y="824"/>
                    </a:lnTo>
                    <a:lnTo>
                      <a:pt x="0" y="830"/>
                    </a:lnTo>
                    <a:lnTo>
                      <a:pt x="2" y="830"/>
                    </a:lnTo>
                    <a:lnTo>
                      <a:pt x="4" y="832"/>
                    </a:lnTo>
                    <a:lnTo>
                      <a:pt x="5" y="832"/>
                    </a:lnTo>
                    <a:lnTo>
                      <a:pt x="7" y="833"/>
                    </a:lnTo>
                    <a:lnTo>
                      <a:pt x="74" y="833"/>
                    </a:lnTo>
                    <a:lnTo>
                      <a:pt x="72" y="833"/>
                    </a:lnTo>
                    <a:lnTo>
                      <a:pt x="196" y="840"/>
                    </a:lnTo>
                    <a:lnTo>
                      <a:pt x="494" y="840"/>
                    </a:lnTo>
                    <a:lnTo>
                      <a:pt x="704" y="842"/>
                    </a:lnTo>
                    <a:lnTo>
                      <a:pt x="703" y="842"/>
                    </a:lnTo>
                    <a:lnTo>
                      <a:pt x="788" y="846"/>
                    </a:lnTo>
                    <a:lnTo>
                      <a:pt x="856" y="846"/>
                    </a:lnTo>
                    <a:lnTo>
                      <a:pt x="992" y="845"/>
                    </a:lnTo>
                    <a:lnTo>
                      <a:pt x="1075" y="840"/>
                    </a:lnTo>
                    <a:lnTo>
                      <a:pt x="1130" y="828"/>
                    </a:lnTo>
                    <a:lnTo>
                      <a:pt x="1131" y="827"/>
                    </a:lnTo>
                    <a:lnTo>
                      <a:pt x="1166" y="817"/>
                    </a:lnTo>
                    <a:lnTo>
                      <a:pt x="1168" y="817"/>
                    </a:lnTo>
                    <a:lnTo>
                      <a:pt x="1191" y="804"/>
                    </a:lnTo>
                    <a:lnTo>
                      <a:pt x="1193" y="802"/>
                    </a:lnTo>
                    <a:lnTo>
                      <a:pt x="1214" y="780"/>
                    </a:lnTo>
                    <a:lnTo>
                      <a:pt x="1214" y="778"/>
                    </a:lnTo>
                    <a:lnTo>
                      <a:pt x="1226" y="753"/>
                    </a:lnTo>
                    <a:lnTo>
                      <a:pt x="1242" y="696"/>
                    </a:lnTo>
                    <a:lnTo>
                      <a:pt x="1244" y="695"/>
                    </a:lnTo>
                    <a:lnTo>
                      <a:pt x="1257" y="621"/>
                    </a:lnTo>
                    <a:lnTo>
                      <a:pt x="1266" y="548"/>
                    </a:lnTo>
                    <a:lnTo>
                      <a:pt x="1272" y="439"/>
                    </a:lnTo>
                    <a:lnTo>
                      <a:pt x="1272" y="383"/>
                    </a:lnTo>
                    <a:lnTo>
                      <a:pt x="1261" y="235"/>
                    </a:lnTo>
                    <a:lnTo>
                      <a:pt x="1249" y="175"/>
                    </a:lnTo>
                    <a:lnTo>
                      <a:pt x="1236" y="122"/>
                    </a:lnTo>
                    <a:lnTo>
                      <a:pt x="1234" y="121"/>
                    </a:lnTo>
                    <a:lnTo>
                      <a:pt x="1218" y="85"/>
                    </a:lnTo>
                    <a:lnTo>
                      <a:pt x="1196" y="64"/>
                    </a:lnTo>
                    <a:lnTo>
                      <a:pt x="1196" y="62"/>
                    </a:lnTo>
                    <a:lnTo>
                      <a:pt x="1163" y="44"/>
                    </a:lnTo>
                    <a:lnTo>
                      <a:pt x="1161" y="44"/>
                    </a:lnTo>
                    <a:lnTo>
                      <a:pt x="1098" y="28"/>
                    </a:lnTo>
                    <a:lnTo>
                      <a:pt x="1096" y="28"/>
                    </a:lnTo>
                    <a:lnTo>
                      <a:pt x="1037" y="18"/>
                    </a:lnTo>
                    <a:lnTo>
                      <a:pt x="939" y="11"/>
                    </a:lnTo>
                    <a:lnTo>
                      <a:pt x="711" y="11"/>
                    </a:lnTo>
                    <a:lnTo>
                      <a:pt x="552" y="8"/>
                    </a:lnTo>
                    <a:lnTo>
                      <a:pt x="376" y="5"/>
                    </a:lnTo>
                    <a:lnTo>
                      <a:pt x="173" y="3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15">
                <a:extLst>
                  <a:ext uri="{FF2B5EF4-FFF2-40B4-BE49-F238E27FC236}">
                    <a16:creationId xmlns:a16="http://schemas.microsoft.com/office/drawing/2014/main" id="{DAA5DC4E-130C-4E7F-B55C-615C26044D1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3182"/>
                <a:ext cx="164" cy="727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0" y="0"/>
                  </a:cxn>
                  <a:cxn ang="0">
                    <a:pos x="7" y="3"/>
                  </a:cxn>
                  <a:cxn ang="0">
                    <a:pos x="7" y="10"/>
                  </a:cxn>
                  <a:cxn ang="0">
                    <a:pos x="9" y="10"/>
                  </a:cxn>
                  <a:cxn ang="0">
                    <a:pos x="10" y="11"/>
                  </a:cxn>
                  <a:cxn ang="0">
                    <a:pos x="12" y="11"/>
                  </a:cxn>
                  <a:cxn ang="0">
                    <a:pos x="14" y="13"/>
                  </a:cxn>
                  <a:cxn ang="0">
                    <a:pos x="58" y="13"/>
                  </a:cxn>
                  <a:cxn ang="0">
                    <a:pos x="57" y="13"/>
                  </a:cxn>
                  <a:cxn ang="0">
                    <a:pos x="92" y="18"/>
                  </a:cxn>
                  <a:cxn ang="0">
                    <a:pos x="87" y="13"/>
                  </a:cxn>
                  <a:cxn ang="0">
                    <a:pos x="102" y="59"/>
                  </a:cxn>
                  <a:cxn ang="0">
                    <a:pos x="102" y="57"/>
                  </a:cxn>
                  <a:cxn ang="0">
                    <a:pos x="108" y="99"/>
                  </a:cxn>
                  <a:cxn ang="0">
                    <a:pos x="115" y="170"/>
                  </a:cxn>
                  <a:cxn ang="0">
                    <a:pos x="122" y="241"/>
                  </a:cxn>
                  <a:cxn ang="0">
                    <a:pos x="120" y="370"/>
                  </a:cxn>
                  <a:cxn ang="0">
                    <a:pos x="120" y="369"/>
                  </a:cxn>
                  <a:cxn ang="0">
                    <a:pos x="112" y="450"/>
                  </a:cxn>
                  <a:cxn ang="0">
                    <a:pos x="98" y="528"/>
                  </a:cxn>
                  <a:cxn ang="0">
                    <a:pos x="90" y="566"/>
                  </a:cxn>
                  <a:cxn ang="0">
                    <a:pos x="85" y="584"/>
                  </a:cxn>
                  <a:cxn ang="0">
                    <a:pos x="90" y="579"/>
                  </a:cxn>
                  <a:cxn ang="0">
                    <a:pos x="73" y="582"/>
                  </a:cxn>
                  <a:cxn ang="0">
                    <a:pos x="75" y="582"/>
                  </a:cxn>
                  <a:cxn ang="0">
                    <a:pos x="4" y="582"/>
                  </a:cxn>
                  <a:cxn ang="0">
                    <a:pos x="0" y="585"/>
                  </a:cxn>
                  <a:cxn ang="0">
                    <a:pos x="0" y="592"/>
                  </a:cxn>
                  <a:cxn ang="0">
                    <a:pos x="2" y="592"/>
                  </a:cxn>
                  <a:cxn ang="0">
                    <a:pos x="4" y="594"/>
                  </a:cxn>
                  <a:cxn ang="0">
                    <a:pos x="5" y="594"/>
                  </a:cxn>
                  <a:cxn ang="0">
                    <a:pos x="7" y="595"/>
                  </a:cxn>
                  <a:cxn ang="0">
                    <a:pos x="75" y="595"/>
                  </a:cxn>
                  <a:cxn ang="0">
                    <a:pos x="92" y="592"/>
                  </a:cxn>
                  <a:cxn ang="0">
                    <a:pos x="93" y="590"/>
                  </a:cxn>
                  <a:cxn ang="0">
                    <a:pos x="95" y="590"/>
                  </a:cxn>
                  <a:cxn ang="0">
                    <a:pos x="95" y="589"/>
                  </a:cxn>
                  <a:cxn ang="0">
                    <a:pos x="97" y="589"/>
                  </a:cxn>
                  <a:cxn ang="0">
                    <a:pos x="97" y="587"/>
                  </a:cxn>
                  <a:cxn ang="0">
                    <a:pos x="102" y="569"/>
                  </a:cxn>
                  <a:cxn ang="0">
                    <a:pos x="103" y="568"/>
                  </a:cxn>
                  <a:cxn ang="0">
                    <a:pos x="112" y="530"/>
                  </a:cxn>
                  <a:cxn ang="0">
                    <a:pos x="125" y="452"/>
                  </a:cxn>
                  <a:cxn ang="0">
                    <a:pos x="133" y="370"/>
                  </a:cxn>
                  <a:cxn ang="0">
                    <a:pos x="135" y="241"/>
                  </a:cxn>
                  <a:cxn ang="0">
                    <a:pos x="135" y="240"/>
                  </a:cxn>
                  <a:cxn ang="0">
                    <a:pos x="128" y="168"/>
                  </a:cxn>
                  <a:cxn ang="0">
                    <a:pos x="122" y="98"/>
                  </a:cxn>
                  <a:cxn ang="0">
                    <a:pos x="115" y="55"/>
                  </a:cxn>
                  <a:cxn ang="0">
                    <a:pos x="113" y="54"/>
                  </a:cxn>
                  <a:cxn ang="0">
                    <a:pos x="98" y="8"/>
                  </a:cxn>
                  <a:cxn ang="0">
                    <a:pos x="98" y="7"/>
                  </a:cxn>
                  <a:cxn ang="0">
                    <a:pos x="97" y="5"/>
                  </a:cxn>
                  <a:cxn ang="0">
                    <a:pos x="93" y="5"/>
                  </a:cxn>
                  <a:cxn ang="0">
                    <a:pos x="58" y="0"/>
                  </a:cxn>
                  <a:cxn ang="0">
                    <a:pos x="14" y="0"/>
                  </a:cxn>
                </a:cxnLst>
                <a:rect l="0" t="0" r="r" b="b"/>
                <a:pathLst>
                  <a:path w="135" h="595">
                    <a:moveTo>
                      <a:pt x="14" y="0"/>
                    </a:moveTo>
                    <a:lnTo>
                      <a:pt x="10" y="0"/>
                    </a:lnTo>
                    <a:lnTo>
                      <a:pt x="7" y="3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4" y="13"/>
                    </a:lnTo>
                    <a:lnTo>
                      <a:pt x="58" y="13"/>
                    </a:lnTo>
                    <a:lnTo>
                      <a:pt x="57" y="13"/>
                    </a:lnTo>
                    <a:lnTo>
                      <a:pt x="92" y="18"/>
                    </a:lnTo>
                    <a:lnTo>
                      <a:pt x="87" y="13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8" y="99"/>
                    </a:lnTo>
                    <a:lnTo>
                      <a:pt x="115" y="170"/>
                    </a:lnTo>
                    <a:lnTo>
                      <a:pt x="122" y="241"/>
                    </a:lnTo>
                    <a:lnTo>
                      <a:pt x="120" y="370"/>
                    </a:lnTo>
                    <a:lnTo>
                      <a:pt x="120" y="369"/>
                    </a:lnTo>
                    <a:lnTo>
                      <a:pt x="112" y="450"/>
                    </a:lnTo>
                    <a:lnTo>
                      <a:pt x="98" y="528"/>
                    </a:lnTo>
                    <a:lnTo>
                      <a:pt x="90" y="566"/>
                    </a:lnTo>
                    <a:lnTo>
                      <a:pt x="85" y="584"/>
                    </a:lnTo>
                    <a:lnTo>
                      <a:pt x="90" y="579"/>
                    </a:lnTo>
                    <a:lnTo>
                      <a:pt x="73" y="582"/>
                    </a:lnTo>
                    <a:lnTo>
                      <a:pt x="75" y="582"/>
                    </a:lnTo>
                    <a:lnTo>
                      <a:pt x="4" y="582"/>
                    </a:lnTo>
                    <a:lnTo>
                      <a:pt x="0" y="585"/>
                    </a:lnTo>
                    <a:lnTo>
                      <a:pt x="0" y="592"/>
                    </a:lnTo>
                    <a:lnTo>
                      <a:pt x="2" y="592"/>
                    </a:lnTo>
                    <a:lnTo>
                      <a:pt x="4" y="594"/>
                    </a:lnTo>
                    <a:lnTo>
                      <a:pt x="5" y="594"/>
                    </a:lnTo>
                    <a:lnTo>
                      <a:pt x="7" y="595"/>
                    </a:lnTo>
                    <a:lnTo>
                      <a:pt x="75" y="595"/>
                    </a:lnTo>
                    <a:lnTo>
                      <a:pt x="92" y="592"/>
                    </a:lnTo>
                    <a:lnTo>
                      <a:pt x="93" y="590"/>
                    </a:lnTo>
                    <a:lnTo>
                      <a:pt x="95" y="590"/>
                    </a:lnTo>
                    <a:lnTo>
                      <a:pt x="95" y="589"/>
                    </a:lnTo>
                    <a:lnTo>
                      <a:pt x="97" y="589"/>
                    </a:lnTo>
                    <a:lnTo>
                      <a:pt x="97" y="587"/>
                    </a:lnTo>
                    <a:lnTo>
                      <a:pt x="102" y="569"/>
                    </a:lnTo>
                    <a:lnTo>
                      <a:pt x="103" y="568"/>
                    </a:lnTo>
                    <a:lnTo>
                      <a:pt x="112" y="530"/>
                    </a:lnTo>
                    <a:lnTo>
                      <a:pt x="125" y="452"/>
                    </a:lnTo>
                    <a:lnTo>
                      <a:pt x="133" y="370"/>
                    </a:lnTo>
                    <a:lnTo>
                      <a:pt x="135" y="241"/>
                    </a:lnTo>
                    <a:lnTo>
                      <a:pt x="135" y="240"/>
                    </a:lnTo>
                    <a:lnTo>
                      <a:pt x="128" y="168"/>
                    </a:lnTo>
                    <a:lnTo>
                      <a:pt x="122" y="98"/>
                    </a:lnTo>
                    <a:lnTo>
                      <a:pt x="115" y="55"/>
                    </a:lnTo>
                    <a:lnTo>
                      <a:pt x="113" y="54"/>
                    </a:lnTo>
                    <a:lnTo>
                      <a:pt x="98" y="8"/>
                    </a:lnTo>
                    <a:lnTo>
                      <a:pt x="98" y="7"/>
                    </a:lnTo>
                    <a:lnTo>
                      <a:pt x="97" y="5"/>
                    </a:lnTo>
                    <a:lnTo>
                      <a:pt x="93" y="5"/>
                    </a:lnTo>
                    <a:lnTo>
                      <a:pt x="58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16">
                <a:extLst>
                  <a:ext uri="{FF2B5EF4-FFF2-40B4-BE49-F238E27FC236}">
                    <a16:creationId xmlns:a16="http://schemas.microsoft.com/office/drawing/2014/main" id="{38470642-B02D-48B8-9696-2CC3AF2C5DA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7" y="3469"/>
                <a:ext cx="67" cy="296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15" y="22"/>
                  </a:cxn>
                  <a:cxn ang="0">
                    <a:pos x="14" y="18"/>
                  </a:cxn>
                  <a:cxn ang="0">
                    <a:pos x="17" y="40"/>
                  </a:cxn>
                  <a:cxn ang="0">
                    <a:pos x="22" y="69"/>
                  </a:cxn>
                  <a:cxn ang="0">
                    <a:pos x="25" y="110"/>
                  </a:cxn>
                  <a:cxn ang="0">
                    <a:pos x="28" y="149"/>
                  </a:cxn>
                  <a:cxn ang="0">
                    <a:pos x="30" y="177"/>
                  </a:cxn>
                  <a:cxn ang="0">
                    <a:pos x="30" y="230"/>
                  </a:cxn>
                  <a:cxn ang="0">
                    <a:pos x="32" y="230"/>
                  </a:cxn>
                  <a:cxn ang="0">
                    <a:pos x="35" y="234"/>
                  </a:cxn>
                  <a:cxn ang="0">
                    <a:pos x="33" y="234"/>
                  </a:cxn>
                  <a:cxn ang="0">
                    <a:pos x="37" y="239"/>
                  </a:cxn>
                  <a:cxn ang="0">
                    <a:pos x="38" y="240"/>
                  </a:cxn>
                  <a:cxn ang="0">
                    <a:pos x="40" y="240"/>
                  </a:cxn>
                  <a:cxn ang="0">
                    <a:pos x="45" y="242"/>
                  </a:cxn>
                  <a:cxn ang="0">
                    <a:pos x="47" y="243"/>
                  </a:cxn>
                  <a:cxn ang="0">
                    <a:pos x="48" y="243"/>
                  </a:cxn>
                  <a:cxn ang="0">
                    <a:pos x="50" y="242"/>
                  </a:cxn>
                  <a:cxn ang="0">
                    <a:pos x="52" y="242"/>
                  </a:cxn>
                  <a:cxn ang="0">
                    <a:pos x="53" y="240"/>
                  </a:cxn>
                  <a:cxn ang="0">
                    <a:pos x="53" y="239"/>
                  </a:cxn>
                  <a:cxn ang="0">
                    <a:pos x="55" y="237"/>
                  </a:cxn>
                  <a:cxn ang="0">
                    <a:pos x="55" y="235"/>
                  </a:cxn>
                  <a:cxn ang="0">
                    <a:pos x="53" y="234"/>
                  </a:cxn>
                  <a:cxn ang="0">
                    <a:pos x="53" y="232"/>
                  </a:cxn>
                  <a:cxn ang="0">
                    <a:pos x="52" y="230"/>
                  </a:cxn>
                  <a:cxn ang="0">
                    <a:pos x="50" y="230"/>
                  </a:cxn>
                  <a:cxn ang="0">
                    <a:pos x="45" y="229"/>
                  </a:cxn>
                  <a:cxn ang="0">
                    <a:pos x="48" y="230"/>
                  </a:cxn>
                  <a:cxn ang="0">
                    <a:pos x="45" y="225"/>
                  </a:cxn>
                  <a:cxn ang="0">
                    <a:pos x="43" y="225"/>
                  </a:cxn>
                  <a:cxn ang="0">
                    <a:pos x="40" y="222"/>
                  </a:cxn>
                  <a:cxn ang="0">
                    <a:pos x="43" y="227"/>
                  </a:cxn>
                  <a:cxn ang="0">
                    <a:pos x="43" y="175"/>
                  </a:cxn>
                  <a:cxn ang="0">
                    <a:pos x="42" y="147"/>
                  </a:cxn>
                  <a:cxn ang="0">
                    <a:pos x="38" y="108"/>
                  </a:cxn>
                  <a:cxn ang="0">
                    <a:pos x="35" y="67"/>
                  </a:cxn>
                  <a:cxn ang="0">
                    <a:pos x="30" y="38"/>
                  </a:cxn>
                  <a:cxn ang="0">
                    <a:pos x="27" y="17"/>
                  </a:cxn>
                  <a:cxn ang="0">
                    <a:pos x="25" y="17"/>
                  </a:cxn>
                  <a:cxn ang="0">
                    <a:pos x="25" y="1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0" y="0"/>
                  </a:cxn>
                </a:cxnLst>
                <a:rect l="0" t="0" r="r" b="b"/>
                <a:pathLst>
                  <a:path w="55" h="243">
                    <a:moveTo>
                      <a:pt x="10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15" y="22"/>
                    </a:lnTo>
                    <a:lnTo>
                      <a:pt x="14" y="18"/>
                    </a:lnTo>
                    <a:lnTo>
                      <a:pt x="17" y="40"/>
                    </a:lnTo>
                    <a:lnTo>
                      <a:pt x="22" y="69"/>
                    </a:lnTo>
                    <a:lnTo>
                      <a:pt x="25" y="110"/>
                    </a:lnTo>
                    <a:lnTo>
                      <a:pt x="28" y="149"/>
                    </a:lnTo>
                    <a:lnTo>
                      <a:pt x="30" y="177"/>
                    </a:lnTo>
                    <a:lnTo>
                      <a:pt x="30" y="230"/>
                    </a:lnTo>
                    <a:lnTo>
                      <a:pt x="32" y="230"/>
                    </a:lnTo>
                    <a:lnTo>
                      <a:pt x="35" y="234"/>
                    </a:lnTo>
                    <a:lnTo>
                      <a:pt x="33" y="234"/>
                    </a:lnTo>
                    <a:lnTo>
                      <a:pt x="37" y="239"/>
                    </a:lnTo>
                    <a:lnTo>
                      <a:pt x="38" y="240"/>
                    </a:lnTo>
                    <a:lnTo>
                      <a:pt x="40" y="240"/>
                    </a:lnTo>
                    <a:lnTo>
                      <a:pt x="45" y="242"/>
                    </a:lnTo>
                    <a:lnTo>
                      <a:pt x="47" y="243"/>
                    </a:lnTo>
                    <a:lnTo>
                      <a:pt x="48" y="243"/>
                    </a:lnTo>
                    <a:lnTo>
                      <a:pt x="50" y="242"/>
                    </a:lnTo>
                    <a:lnTo>
                      <a:pt x="52" y="242"/>
                    </a:lnTo>
                    <a:lnTo>
                      <a:pt x="53" y="240"/>
                    </a:lnTo>
                    <a:lnTo>
                      <a:pt x="53" y="239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3" y="234"/>
                    </a:lnTo>
                    <a:lnTo>
                      <a:pt x="53" y="232"/>
                    </a:lnTo>
                    <a:lnTo>
                      <a:pt x="52" y="230"/>
                    </a:lnTo>
                    <a:lnTo>
                      <a:pt x="50" y="230"/>
                    </a:lnTo>
                    <a:lnTo>
                      <a:pt x="45" y="229"/>
                    </a:lnTo>
                    <a:lnTo>
                      <a:pt x="48" y="230"/>
                    </a:lnTo>
                    <a:lnTo>
                      <a:pt x="45" y="225"/>
                    </a:lnTo>
                    <a:lnTo>
                      <a:pt x="43" y="225"/>
                    </a:lnTo>
                    <a:lnTo>
                      <a:pt x="40" y="222"/>
                    </a:lnTo>
                    <a:lnTo>
                      <a:pt x="43" y="227"/>
                    </a:lnTo>
                    <a:lnTo>
                      <a:pt x="43" y="175"/>
                    </a:lnTo>
                    <a:lnTo>
                      <a:pt x="42" y="147"/>
                    </a:lnTo>
                    <a:lnTo>
                      <a:pt x="38" y="108"/>
                    </a:lnTo>
                    <a:lnTo>
                      <a:pt x="35" y="67"/>
                    </a:lnTo>
                    <a:lnTo>
                      <a:pt x="30" y="38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17">
                <a:extLst>
                  <a:ext uri="{FF2B5EF4-FFF2-40B4-BE49-F238E27FC236}">
                    <a16:creationId xmlns:a16="http://schemas.microsoft.com/office/drawing/2014/main" id="{4D129AB6-126F-4015-B683-81F7EFC786D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89" y="3472"/>
                <a:ext cx="68" cy="288"/>
              </a:xfrm>
              <a:custGeom>
                <a:avLst/>
                <a:gdLst/>
                <a:ahLst/>
                <a:cxnLst>
                  <a:cxn ang="0">
                    <a:pos x="3" y="223"/>
                  </a:cxn>
                  <a:cxn ang="0">
                    <a:pos x="1" y="225"/>
                  </a:cxn>
                  <a:cxn ang="0">
                    <a:pos x="0" y="225"/>
                  </a:cxn>
                  <a:cxn ang="0">
                    <a:pos x="0" y="231"/>
                  </a:cxn>
                  <a:cxn ang="0">
                    <a:pos x="1" y="233"/>
                  </a:cxn>
                  <a:cxn ang="0">
                    <a:pos x="1" y="235"/>
                  </a:cxn>
                  <a:cxn ang="0">
                    <a:pos x="3" y="235"/>
                  </a:cxn>
                  <a:cxn ang="0">
                    <a:pos x="5" y="236"/>
                  </a:cxn>
                  <a:cxn ang="0">
                    <a:pos x="6" y="236"/>
                  </a:cxn>
                  <a:cxn ang="0">
                    <a:pos x="8" y="235"/>
                  </a:cxn>
                  <a:cxn ang="0">
                    <a:pos x="15" y="231"/>
                  </a:cxn>
                  <a:cxn ang="0">
                    <a:pos x="16" y="231"/>
                  </a:cxn>
                  <a:cxn ang="0">
                    <a:pos x="18" y="230"/>
                  </a:cxn>
                  <a:cxn ang="0">
                    <a:pos x="18" y="228"/>
                  </a:cxn>
                  <a:cxn ang="0">
                    <a:pos x="21" y="222"/>
                  </a:cxn>
                  <a:cxn ang="0">
                    <a:pos x="23" y="222"/>
                  </a:cxn>
                  <a:cxn ang="0">
                    <a:pos x="28" y="200"/>
                  </a:cxn>
                  <a:cxn ang="0">
                    <a:pos x="28" y="199"/>
                  </a:cxn>
                  <a:cxn ang="0">
                    <a:pos x="34" y="166"/>
                  </a:cxn>
                  <a:cxn ang="0">
                    <a:pos x="38" y="125"/>
                  </a:cxn>
                  <a:cxn ang="0">
                    <a:pos x="43" y="80"/>
                  </a:cxn>
                  <a:cxn ang="0">
                    <a:pos x="44" y="26"/>
                  </a:cxn>
                  <a:cxn ang="0">
                    <a:pos x="43" y="27"/>
                  </a:cxn>
                  <a:cxn ang="0">
                    <a:pos x="46" y="16"/>
                  </a:cxn>
                  <a:cxn ang="0">
                    <a:pos x="49" y="10"/>
                  </a:cxn>
                  <a:cxn ang="0">
                    <a:pos x="46" y="13"/>
                  </a:cxn>
                  <a:cxn ang="0">
                    <a:pos x="51" y="11"/>
                  </a:cxn>
                  <a:cxn ang="0">
                    <a:pos x="53" y="11"/>
                  </a:cxn>
                  <a:cxn ang="0">
                    <a:pos x="54" y="10"/>
                  </a:cxn>
                  <a:cxn ang="0">
                    <a:pos x="54" y="8"/>
                  </a:cxn>
                  <a:cxn ang="0">
                    <a:pos x="56" y="6"/>
                  </a:cxn>
                  <a:cxn ang="0">
                    <a:pos x="56" y="5"/>
                  </a:cxn>
                  <a:cxn ang="0">
                    <a:pos x="54" y="3"/>
                  </a:cxn>
                  <a:cxn ang="0">
                    <a:pos x="54" y="1"/>
                  </a:cxn>
                  <a:cxn ang="0">
                    <a:pos x="53" y="1"/>
                  </a:cxn>
                  <a:cxn ang="0">
                    <a:pos x="51" y="0"/>
                  </a:cxn>
                  <a:cxn ang="0">
                    <a:pos x="46" y="0"/>
                  </a:cxn>
                  <a:cxn ang="0">
                    <a:pos x="41" y="1"/>
                  </a:cxn>
                  <a:cxn ang="0">
                    <a:pos x="39" y="1"/>
                  </a:cxn>
                  <a:cxn ang="0">
                    <a:pos x="39" y="3"/>
                  </a:cxn>
                  <a:cxn ang="0">
                    <a:pos x="38" y="5"/>
                  </a:cxn>
                  <a:cxn ang="0">
                    <a:pos x="34" y="11"/>
                  </a:cxn>
                  <a:cxn ang="0">
                    <a:pos x="34" y="13"/>
                  </a:cxn>
                  <a:cxn ang="0">
                    <a:pos x="31" y="24"/>
                  </a:cxn>
                  <a:cxn ang="0">
                    <a:pos x="31" y="26"/>
                  </a:cxn>
                  <a:cxn ang="0">
                    <a:pos x="29" y="80"/>
                  </a:cxn>
                  <a:cxn ang="0">
                    <a:pos x="29" y="78"/>
                  </a:cxn>
                  <a:cxn ang="0">
                    <a:pos x="25" y="124"/>
                  </a:cxn>
                  <a:cxn ang="0">
                    <a:pos x="21" y="164"/>
                  </a:cxn>
                  <a:cxn ang="0">
                    <a:pos x="15" y="197"/>
                  </a:cxn>
                  <a:cxn ang="0">
                    <a:pos x="10" y="218"/>
                  </a:cxn>
                  <a:cxn ang="0">
                    <a:pos x="10" y="217"/>
                  </a:cxn>
                  <a:cxn ang="0">
                    <a:pos x="6" y="223"/>
                  </a:cxn>
                  <a:cxn ang="0">
                    <a:pos x="10" y="220"/>
                  </a:cxn>
                  <a:cxn ang="0">
                    <a:pos x="3" y="223"/>
                  </a:cxn>
                </a:cxnLst>
                <a:rect l="0" t="0" r="r" b="b"/>
                <a:pathLst>
                  <a:path w="56" h="236">
                    <a:moveTo>
                      <a:pt x="3" y="223"/>
                    </a:moveTo>
                    <a:lnTo>
                      <a:pt x="1" y="225"/>
                    </a:lnTo>
                    <a:lnTo>
                      <a:pt x="0" y="225"/>
                    </a:lnTo>
                    <a:lnTo>
                      <a:pt x="0" y="231"/>
                    </a:lnTo>
                    <a:lnTo>
                      <a:pt x="1" y="233"/>
                    </a:lnTo>
                    <a:lnTo>
                      <a:pt x="1" y="235"/>
                    </a:lnTo>
                    <a:lnTo>
                      <a:pt x="3" y="235"/>
                    </a:lnTo>
                    <a:lnTo>
                      <a:pt x="5" y="236"/>
                    </a:lnTo>
                    <a:lnTo>
                      <a:pt x="6" y="236"/>
                    </a:lnTo>
                    <a:lnTo>
                      <a:pt x="8" y="235"/>
                    </a:lnTo>
                    <a:lnTo>
                      <a:pt x="15" y="231"/>
                    </a:lnTo>
                    <a:lnTo>
                      <a:pt x="16" y="231"/>
                    </a:lnTo>
                    <a:lnTo>
                      <a:pt x="18" y="230"/>
                    </a:lnTo>
                    <a:lnTo>
                      <a:pt x="18" y="228"/>
                    </a:lnTo>
                    <a:lnTo>
                      <a:pt x="21" y="222"/>
                    </a:lnTo>
                    <a:lnTo>
                      <a:pt x="23" y="222"/>
                    </a:lnTo>
                    <a:lnTo>
                      <a:pt x="28" y="200"/>
                    </a:lnTo>
                    <a:lnTo>
                      <a:pt x="28" y="199"/>
                    </a:lnTo>
                    <a:lnTo>
                      <a:pt x="34" y="166"/>
                    </a:lnTo>
                    <a:lnTo>
                      <a:pt x="38" y="125"/>
                    </a:lnTo>
                    <a:lnTo>
                      <a:pt x="43" y="80"/>
                    </a:lnTo>
                    <a:lnTo>
                      <a:pt x="44" y="26"/>
                    </a:lnTo>
                    <a:lnTo>
                      <a:pt x="43" y="27"/>
                    </a:lnTo>
                    <a:lnTo>
                      <a:pt x="46" y="16"/>
                    </a:lnTo>
                    <a:lnTo>
                      <a:pt x="49" y="10"/>
                    </a:lnTo>
                    <a:lnTo>
                      <a:pt x="46" y="13"/>
                    </a:lnTo>
                    <a:lnTo>
                      <a:pt x="51" y="11"/>
                    </a:lnTo>
                    <a:lnTo>
                      <a:pt x="53" y="11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4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9" y="3"/>
                    </a:lnTo>
                    <a:lnTo>
                      <a:pt x="38" y="5"/>
                    </a:lnTo>
                    <a:lnTo>
                      <a:pt x="34" y="11"/>
                    </a:lnTo>
                    <a:lnTo>
                      <a:pt x="34" y="13"/>
                    </a:lnTo>
                    <a:lnTo>
                      <a:pt x="31" y="24"/>
                    </a:lnTo>
                    <a:lnTo>
                      <a:pt x="31" y="26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5" y="124"/>
                    </a:lnTo>
                    <a:lnTo>
                      <a:pt x="21" y="164"/>
                    </a:lnTo>
                    <a:lnTo>
                      <a:pt x="15" y="197"/>
                    </a:lnTo>
                    <a:lnTo>
                      <a:pt x="10" y="218"/>
                    </a:lnTo>
                    <a:lnTo>
                      <a:pt x="10" y="217"/>
                    </a:lnTo>
                    <a:lnTo>
                      <a:pt x="6" y="223"/>
                    </a:lnTo>
                    <a:lnTo>
                      <a:pt x="10" y="220"/>
                    </a:lnTo>
                    <a:lnTo>
                      <a:pt x="3" y="2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18">
                <a:extLst>
                  <a:ext uri="{FF2B5EF4-FFF2-40B4-BE49-F238E27FC236}">
                    <a16:creationId xmlns:a16="http://schemas.microsoft.com/office/drawing/2014/main" id="{5834D168-2C63-4C22-85BA-DC6697EABB8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07" y="3197"/>
                <a:ext cx="531" cy="6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5" y="13"/>
                  </a:cxn>
                  <a:cxn ang="0">
                    <a:pos x="135" y="20"/>
                  </a:cxn>
                  <a:cxn ang="0">
                    <a:pos x="240" y="23"/>
                  </a:cxn>
                  <a:cxn ang="0">
                    <a:pos x="316" y="31"/>
                  </a:cxn>
                  <a:cxn ang="0">
                    <a:pos x="366" y="38"/>
                  </a:cxn>
                  <a:cxn ang="0">
                    <a:pos x="406" y="46"/>
                  </a:cxn>
                  <a:cxn ang="0">
                    <a:pos x="406" y="44"/>
                  </a:cxn>
                  <a:cxn ang="0">
                    <a:pos x="429" y="51"/>
                  </a:cxn>
                  <a:cxn ang="0">
                    <a:pos x="431" y="53"/>
                  </a:cxn>
                  <a:cxn ang="0">
                    <a:pos x="432" y="53"/>
                  </a:cxn>
                  <a:cxn ang="0">
                    <a:pos x="436" y="49"/>
                  </a:cxn>
                  <a:cxn ang="0">
                    <a:pos x="436" y="48"/>
                  </a:cxn>
                  <a:cxn ang="0">
                    <a:pos x="437" y="46"/>
                  </a:cxn>
                  <a:cxn ang="0">
                    <a:pos x="437" y="44"/>
                  </a:cxn>
                  <a:cxn ang="0">
                    <a:pos x="436" y="43"/>
                  </a:cxn>
                  <a:cxn ang="0">
                    <a:pos x="436" y="41"/>
                  </a:cxn>
                  <a:cxn ang="0">
                    <a:pos x="434" y="40"/>
                  </a:cxn>
                  <a:cxn ang="0">
                    <a:pos x="432" y="40"/>
                  </a:cxn>
                  <a:cxn ang="0">
                    <a:pos x="409" y="33"/>
                  </a:cxn>
                  <a:cxn ang="0">
                    <a:pos x="407" y="33"/>
                  </a:cxn>
                  <a:cxn ang="0">
                    <a:pos x="367" y="25"/>
                  </a:cxn>
                  <a:cxn ang="0">
                    <a:pos x="318" y="18"/>
                  </a:cxn>
                  <a:cxn ang="0">
                    <a:pos x="241" y="10"/>
                  </a:cxn>
                  <a:cxn ang="0">
                    <a:pos x="137" y="7"/>
                  </a:cxn>
                  <a:cxn ang="0">
                    <a:pos x="7" y="0"/>
                  </a:cxn>
                </a:cxnLst>
                <a:rect l="0" t="0" r="r" b="b"/>
                <a:pathLst>
                  <a:path w="437" h="53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5" y="13"/>
                    </a:lnTo>
                    <a:lnTo>
                      <a:pt x="135" y="20"/>
                    </a:lnTo>
                    <a:lnTo>
                      <a:pt x="240" y="23"/>
                    </a:lnTo>
                    <a:lnTo>
                      <a:pt x="316" y="31"/>
                    </a:lnTo>
                    <a:lnTo>
                      <a:pt x="366" y="38"/>
                    </a:lnTo>
                    <a:lnTo>
                      <a:pt x="406" y="46"/>
                    </a:lnTo>
                    <a:lnTo>
                      <a:pt x="406" y="44"/>
                    </a:lnTo>
                    <a:lnTo>
                      <a:pt x="429" y="51"/>
                    </a:lnTo>
                    <a:lnTo>
                      <a:pt x="431" y="53"/>
                    </a:lnTo>
                    <a:lnTo>
                      <a:pt x="432" y="53"/>
                    </a:lnTo>
                    <a:lnTo>
                      <a:pt x="436" y="49"/>
                    </a:lnTo>
                    <a:lnTo>
                      <a:pt x="436" y="48"/>
                    </a:lnTo>
                    <a:lnTo>
                      <a:pt x="437" y="46"/>
                    </a:lnTo>
                    <a:lnTo>
                      <a:pt x="437" y="44"/>
                    </a:lnTo>
                    <a:lnTo>
                      <a:pt x="436" y="43"/>
                    </a:lnTo>
                    <a:lnTo>
                      <a:pt x="436" y="41"/>
                    </a:lnTo>
                    <a:lnTo>
                      <a:pt x="434" y="40"/>
                    </a:lnTo>
                    <a:lnTo>
                      <a:pt x="432" y="40"/>
                    </a:lnTo>
                    <a:lnTo>
                      <a:pt x="409" y="33"/>
                    </a:lnTo>
                    <a:lnTo>
                      <a:pt x="407" y="33"/>
                    </a:lnTo>
                    <a:lnTo>
                      <a:pt x="367" y="25"/>
                    </a:lnTo>
                    <a:lnTo>
                      <a:pt x="318" y="18"/>
                    </a:lnTo>
                    <a:lnTo>
                      <a:pt x="241" y="10"/>
                    </a:lnTo>
                    <a:lnTo>
                      <a:pt x="137" y="7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19">
                <a:extLst>
                  <a:ext uri="{FF2B5EF4-FFF2-40B4-BE49-F238E27FC236}">
                    <a16:creationId xmlns:a16="http://schemas.microsoft.com/office/drawing/2014/main" id="{BD16E933-94A1-4C2C-8721-4B620BC8DB6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61" y="2771"/>
                <a:ext cx="1395" cy="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379" y="16"/>
                  </a:cxn>
                  <a:cxn ang="0">
                    <a:pos x="850" y="28"/>
                  </a:cxn>
                  <a:cxn ang="0">
                    <a:pos x="849" y="28"/>
                  </a:cxn>
                  <a:cxn ang="0">
                    <a:pos x="980" y="36"/>
                  </a:cxn>
                  <a:cxn ang="0">
                    <a:pos x="1073" y="47"/>
                  </a:cxn>
                  <a:cxn ang="0">
                    <a:pos x="1114" y="54"/>
                  </a:cxn>
                  <a:cxn ang="0">
                    <a:pos x="1113" y="52"/>
                  </a:cxn>
                  <a:cxn ang="0">
                    <a:pos x="1138" y="60"/>
                  </a:cxn>
                  <a:cxn ang="0">
                    <a:pos x="1139" y="62"/>
                  </a:cxn>
                  <a:cxn ang="0">
                    <a:pos x="1141" y="62"/>
                  </a:cxn>
                  <a:cxn ang="0">
                    <a:pos x="1143" y="60"/>
                  </a:cxn>
                  <a:cxn ang="0">
                    <a:pos x="1144" y="60"/>
                  </a:cxn>
                  <a:cxn ang="0">
                    <a:pos x="1146" y="59"/>
                  </a:cxn>
                  <a:cxn ang="0">
                    <a:pos x="1146" y="57"/>
                  </a:cxn>
                  <a:cxn ang="0">
                    <a:pos x="1148" y="55"/>
                  </a:cxn>
                  <a:cxn ang="0">
                    <a:pos x="1148" y="54"/>
                  </a:cxn>
                  <a:cxn ang="0">
                    <a:pos x="1146" y="52"/>
                  </a:cxn>
                  <a:cxn ang="0">
                    <a:pos x="1146" y="50"/>
                  </a:cxn>
                  <a:cxn ang="0">
                    <a:pos x="1144" y="49"/>
                  </a:cxn>
                  <a:cxn ang="0">
                    <a:pos x="1143" y="49"/>
                  </a:cxn>
                  <a:cxn ang="0">
                    <a:pos x="1118" y="41"/>
                  </a:cxn>
                  <a:cxn ang="0">
                    <a:pos x="1116" y="41"/>
                  </a:cxn>
                  <a:cxn ang="0">
                    <a:pos x="1074" y="34"/>
                  </a:cxn>
                  <a:cxn ang="0">
                    <a:pos x="981" y="23"/>
                  </a:cxn>
                  <a:cxn ang="0">
                    <a:pos x="850" y="15"/>
                  </a:cxn>
                  <a:cxn ang="0">
                    <a:pos x="379" y="3"/>
                  </a:cxn>
                  <a:cxn ang="0">
                    <a:pos x="7" y="0"/>
                  </a:cxn>
                </a:cxnLst>
                <a:rect l="0" t="0" r="r" b="b"/>
                <a:pathLst>
                  <a:path w="1148" h="62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379" y="16"/>
                    </a:lnTo>
                    <a:lnTo>
                      <a:pt x="850" y="28"/>
                    </a:lnTo>
                    <a:lnTo>
                      <a:pt x="849" y="28"/>
                    </a:lnTo>
                    <a:lnTo>
                      <a:pt x="980" y="36"/>
                    </a:lnTo>
                    <a:lnTo>
                      <a:pt x="1073" y="47"/>
                    </a:lnTo>
                    <a:lnTo>
                      <a:pt x="1114" y="54"/>
                    </a:lnTo>
                    <a:lnTo>
                      <a:pt x="1113" y="52"/>
                    </a:lnTo>
                    <a:lnTo>
                      <a:pt x="1138" y="60"/>
                    </a:lnTo>
                    <a:lnTo>
                      <a:pt x="1139" y="62"/>
                    </a:lnTo>
                    <a:lnTo>
                      <a:pt x="1141" y="62"/>
                    </a:lnTo>
                    <a:lnTo>
                      <a:pt x="1143" y="60"/>
                    </a:lnTo>
                    <a:lnTo>
                      <a:pt x="1144" y="60"/>
                    </a:lnTo>
                    <a:lnTo>
                      <a:pt x="1146" y="59"/>
                    </a:lnTo>
                    <a:lnTo>
                      <a:pt x="1146" y="57"/>
                    </a:lnTo>
                    <a:lnTo>
                      <a:pt x="1148" y="55"/>
                    </a:lnTo>
                    <a:lnTo>
                      <a:pt x="1148" y="54"/>
                    </a:lnTo>
                    <a:lnTo>
                      <a:pt x="1146" y="52"/>
                    </a:lnTo>
                    <a:lnTo>
                      <a:pt x="1146" y="50"/>
                    </a:lnTo>
                    <a:lnTo>
                      <a:pt x="1144" y="49"/>
                    </a:lnTo>
                    <a:lnTo>
                      <a:pt x="1143" y="49"/>
                    </a:lnTo>
                    <a:lnTo>
                      <a:pt x="1118" y="41"/>
                    </a:lnTo>
                    <a:lnTo>
                      <a:pt x="1116" y="41"/>
                    </a:lnTo>
                    <a:lnTo>
                      <a:pt x="1074" y="34"/>
                    </a:lnTo>
                    <a:lnTo>
                      <a:pt x="981" y="23"/>
                    </a:lnTo>
                    <a:lnTo>
                      <a:pt x="850" y="15"/>
                    </a:lnTo>
                    <a:lnTo>
                      <a:pt x="379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20">
                <a:extLst>
                  <a:ext uri="{FF2B5EF4-FFF2-40B4-BE49-F238E27FC236}">
                    <a16:creationId xmlns:a16="http://schemas.microsoft.com/office/drawing/2014/main" id="{BCC96F39-2E19-4154-9FE6-1C871C55FDD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13" y="2723"/>
                <a:ext cx="1380" cy="13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6" y="13"/>
                  </a:cxn>
                  <a:cxn ang="0">
                    <a:pos x="393" y="18"/>
                  </a:cxn>
                  <a:cxn ang="0">
                    <a:pos x="392" y="18"/>
                  </a:cxn>
                  <a:cxn ang="0">
                    <a:pos x="637" y="29"/>
                  </a:cxn>
                  <a:cxn ang="0">
                    <a:pos x="863" y="39"/>
                  </a:cxn>
                  <a:cxn ang="0">
                    <a:pos x="933" y="46"/>
                  </a:cxn>
                  <a:cxn ang="0">
                    <a:pos x="1004" y="54"/>
                  </a:cxn>
                  <a:cxn ang="0">
                    <a:pos x="1063" y="67"/>
                  </a:cxn>
                  <a:cxn ang="0">
                    <a:pos x="1061" y="65"/>
                  </a:cxn>
                  <a:cxn ang="0">
                    <a:pos x="1096" y="80"/>
                  </a:cxn>
                  <a:cxn ang="0">
                    <a:pos x="1094" y="80"/>
                  </a:cxn>
                  <a:cxn ang="0">
                    <a:pos x="1109" y="91"/>
                  </a:cxn>
                  <a:cxn ang="0">
                    <a:pos x="1109" y="90"/>
                  </a:cxn>
                  <a:cxn ang="0">
                    <a:pos x="1124" y="108"/>
                  </a:cxn>
                  <a:cxn ang="0">
                    <a:pos x="1124" y="109"/>
                  </a:cxn>
                  <a:cxn ang="0">
                    <a:pos x="1126" y="109"/>
                  </a:cxn>
                  <a:cxn ang="0">
                    <a:pos x="1127" y="111"/>
                  </a:cxn>
                  <a:cxn ang="0">
                    <a:pos x="1129" y="111"/>
                  </a:cxn>
                  <a:cxn ang="0">
                    <a:pos x="1131" y="109"/>
                  </a:cxn>
                  <a:cxn ang="0">
                    <a:pos x="1132" y="109"/>
                  </a:cxn>
                  <a:cxn ang="0">
                    <a:pos x="1134" y="108"/>
                  </a:cxn>
                  <a:cxn ang="0">
                    <a:pos x="1134" y="106"/>
                  </a:cxn>
                  <a:cxn ang="0">
                    <a:pos x="1136" y="105"/>
                  </a:cxn>
                  <a:cxn ang="0">
                    <a:pos x="1136" y="103"/>
                  </a:cxn>
                  <a:cxn ang="0">
                    <a:pos x="1134" y="101"/>
                  </a:cxn>
                  <a:cxn ang="0">
                    <a:pos x="1134" y="100"/>
                  </a:cxn>
                  <a:cxn ang="0">
                    <a:pos x="1119" y="82"/>
                  </a:cxn>
                  <a:cxn ang="0">
                    <a:pos x="1117" y="80"/>
                  </a:cxn>
                  <a:cxn ang="0">
                    <a:pos x="1102" y="69"/>
                  </a:cxn>
                  <a:cxn ang="0">
                    <a:pos x="1101" y="69"/>
                  </a:cxn>
                  <a:cxn ang="0">
                    <a:pos x="1066" y="54"/>
                  </a:cxn>
                  <a:cxn ang="0">
                    <a:pos x="1008" y="41"/>
                  </a:cxn>
                  <a:cxn ang="0">
                    <a:pos x="1006" y="41"/>
                  </a:cxn>
                  <a:cxn ang="0">
                    <a:pos x="935" y="33"/>
                  </a:cxn>
                  <a:cxn ang="0">
                    <a:pos x="865" y="26"/>
                  </a:cxn>
                  <a:cxn ang="0">
                    <a:pos x="639" y="16"/>
                  </a:cxn>
                  <a:cxn ang="0">
                    <a:pos x="393" y="5"/>
                  </a:cxn>
                  <a:cxn ang="0">
                    <a:pos x="6" y="0"/>
                  </a:cxn>
                </a:cxnLst>
                <a:rect l="0" t="0" r="r" b="b"/>
                <a:pathLst>
                  <a:path w="1136" h="111">
                    <a:moveTo>
                      <a:pt x="6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393" y="18"/>
                    </a:lnTo>
                    <a:lnTo>
                      <a:pt x="392" y="18"/>
                    </a:lnTo>
                    <a:lnTo>
                      <a:pt x="637" y="29"/>
                    </a:lnTo>
                    <a:lnTo>
                      <a:pt x="863" y="39"/>
                    </a:lnTo>
                    <a:lnTo>
                      <a:pt x="933" y="46"/>
                    </a:lnTo>
                    <a:lnTo>
                      <a:pt x="1004" y="54"/>
                    </a:lnTo>
                    <a:lnTo>
                      <a:pt x="1063" y="67"/>
                    </a:lnTo>
                    <a:lnTo>
                      <a:pt x="1061" y="65"/>
                    </a:lnTo>
                    <a:lnTo>
                      <a:pt x="1096" y="80"/>
                    </a:lnTo>
                    <a:lnTo>
                      <a:pt x="1094" y="80"/>
                    </a:lnTo>
                    <a:lnTo>
                      <a:pt x="1109" y="91"/>
                    </a:lnTo>
                    <a:lnTo>
                      <a:pt x="1109" y="90"/>
                    </a:lnTo>
                    <a:lnTo>
                      <a:pt x="1124" y="108"/>
                    </a:lnTo>
                    <a:lnTo>
                      <a:pt x="1124" y="109"/>
                    </a:lnTo>
                    <a:lnTo>
                      <a:pt x="1126" y="109"/>
                    </a:lnTo>
                    <a:lnTo>
                      <a:pt x="1127" y="111"/>
                    </a:lnTo>
                    <a:lnTo>
                      <a:pt x="1129" y="111"/>
                    </a:lnTo>
                    <a:lnTo>
                      <a:pt x="1131" y="109"/>
                    </a:lnTo>
                    <a:lnTo>
                      <a:pt x="1132" y="109"/>
                    </a:lnTo>
                    <a:lnTo>
                      <a:pt x="1134" y="108"/>
                    </a:lnTo>
                    <a:lnTo>
                      <a:pt x="1134" y="106"/>
                    </a:lnTo>
                    <a:lnTo>
                      <a:pt x="1136" y="105"/>
                    </a:lnTo>
                    <a:lnTo>
                      <a:pt x="1136" y="103"/>
                    </a:lnTo>
                    <a:lnTo>
                      <a:pt x="1134" y="101"/>
                    </a:lnTo>
                    <a:lnTo>
                      <a:pt x="1134" y="100"/>
                    </a:lnTo>
                    <a:lnTo>
                      <a:pt x="1119" y="82"/>
                    </a:lnTo>
                    <a:lnTo>
                      <a:pt x="1117" y="80"/>
                    </a:lnTo>
                    <a:lnTo>
                      <a:pt x="1102" y="69"/>
                    </a:lnTo>
                    <a:lnTo>
                      <a:pt x="1101" y="69"/>
                    </a:lnTo>
                    <a:lnTo>
                      <a:pt x="1066" y="54"/>
                    </a:lnTo>
                    <a:lnTo>
                      <a:pt x="1008" y="41"/>
                    </a:lnTo>
                    <a:lnTo>
                      <a:pt x="1006" y="41"/>
                    </a:lnTo>
                    <a:lnTo>
                      <a:pt x="935" y="33"/>
                    </a:lnTo>
                    <a:lnTo>
                      <a:pt x="865" y="26"/>
                    </a:lnTo>
                    <a:lnTo>
                      <a:pt x="639" y="16"/>
                    </a:lnTo>
                    <a:lnTo>
                      <a:pt x="393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21">
                <a:extLst>
                  <a:ext uri="{FF2B5EF4-FFF2-40B4-BE49-F238E27FC236}">
                    <a16:creationId xmlns:a16="http://schemas.microsoft.com/office/drawing/2014/main" id="{823B660B-B15A-4397-9FA9-E9A0AD09504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95" y="2736"/>
                <a:ext cx="1391" cy="100"/>
              </a:xfrm>
              <a:custGeom>
                <a:avLst/>
                <a:gdLst/>
                <a:ahLst/>
                <a:cxnLst>
                  <a:cxn ang="0">
                    <a:pos x="7" y="64"/>
                  </a:cxn>
                  <a:cxn ang="0">
                    <a:pos x="4" y="64"/>
                  </a:cxn>
                  <a:cxn ang="0">
                    <a:pos x="0" y="67"/>
                  </a:cxn>
                  <a:cxn ang="0">
                    <a:pos x="0" y="74"/>
                  </a:cxn>
                  <a:cxn ang="0">
                    <a:pos x="2" y="74"/>
                  </a:cxn>
                  <a:cxn ang="0">
                    <a:pos x="4" y="75"/>
                  </a:cxn>
                  <a:cxn ang="0">
                    <a:pos x="5" y="75"/>
                  </a:cxn>
                  <a:cxn ang="0">
                    <a:pos x="7" y="77"/>
                  </a:cxn>
                  <a:cxn ang="0">
                    <a:pos x="397" y="82"/>
                  </a:cxn>
                  <a:cxn ang="0">
                    <a:pos x="645" y="80"/>
                  </a:cxn>
                  <a:cxn ang="0">
                    <a:pos x="867" y="75"/>
                  </a:cxn>
                  <a:cxn ang="0">
                    <a:pos x="990" y="67"/>
                  </a:cxn>
                  <a:cxn ang="0">
                    <a:pos x="1050" y="59"/>
                  </a:cxn>
                  <a:cxn ang="0">
                    <a:pos x="1052" y="57"/>
                  </a:cxn>
                  <a:cxn ang="0">
                    <a:pos x="1091" y="46"/>
                  </a:cxn>
                  <a:cxn ang="0">
                    <a:pos x="1121" y="33"/>
                  </a:cxn>
                  <a:cxn ang="0">
                    <a:pos x="1123" y="33"/>
                  </a:cxn>
                  <a:cxn ang="0">
                    <a:pos x="1125" y="31"/>
                  </a:cxn>
                  <a:cxn ang="0">
                    <a:pos x="1143" y="10"/>
                  </a:cxn>
                  <a:cxn ang="0">
                    <a:pos x="1143" y="8"/>
                  </a:cxn>
                  <a:cxn ang="0">
                    <a:pos x="1145" y="7"/>
                  </a:cxn>
                  <a:cxn ang="0">
                    <a:pos x="1145" y="5"/>
                  </a:cxn>
                  <a:cxn ang="0">
                    <a:pos x="1143" y="3"/>
                  </a:cxn>
                  <a:cxn ang="0">
                    <a:pos x="1143" y="2"/>
                  </a:cxn>
                  <a:cxn ang="0">
                    <a:pos x="1141" y="2"/>
                  </a:cxn>
                  <a:cxn ang="0">
                    <a:pos x="1140" y="0"/>
                  </a:cxn>
                  <a:cxn ang="0">
                    <a:pos x="1133" y="0"/>
                  </a:cxn>
                  <a:cxn ang="0">
                    <a:pos x="1133" y="2"/>
                  </a:cxn>
                  <a:cxn ang="0">
                    <a:pos x="1115" y="23"/>
                  </a:cxn>
                  <a:cxn ang="0">
                    <a:pos x="1116" y="21"/>
                  </a:cxn>
                  <a:cxn ang="0">
                    <a:pos x="1086" y="34"/>
                  </a:cxn>
                  <a:cxn ang="0">
                    <a:pos x="1088" y="34"/>
                  </a:cxn>
                  <a:cxn ang="0">
                    <a:pos x="1048" y="46"/>
                  </a:cxn>
                  <a:cxn ang="0">
                    <a:pos x="988" y="54"/>
                  </a:cxn>
                  <a:cxn ang="0">
                    <a:pos x="866" y="62"/>
                  </a:cxn>
                  <a:cxn ang="0">
                    <a:pos x="867" y="62"/>
                  </a:cxn>
                  <a:cxn ang="0">
                    <a:pos x="645" y="67"/>
                  </a:cxn>
                  <a:cxn ang="0">
                    <a:pos x="397" y="69"/>
                  </a:cxn>
                  <a:cxn ang="0">
                    <a:pos x="7" y="64"/>
                  </a:cxn>
                </a:cxnLst>
                <a:rect l="0" t="0" r="r" b="b"/>
                <a:pathLst>
                  <a:path w="1145" h="82">
                    <a:moveTo>
                      <a:pt x="7" y="64"/>
                    </a:moveTo>
                    <a:lnTo>
                      <a:pt x="4" y="64"/>
                    </a:lnTo>
                    <a:lnTo>
                      <a:pt x="0" y="67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7" y="77"/>
                    </a:lnTo>
                    <a:lnTo>
                      <a:pt x="397" y="82"/>
                    </a:lnTo>
                    <a:lnTo>
                      <a:pt x="645" y="80"/>
                    </a:lnTo>
                    <a:lnTo>
                      <a:pt x="867" y="75"/>
                    </a:lnTo>
                    <a:lnTo>
                      <a:pt x="990" y="67"/>
                    </a:lnTo>
                    <a:lnTo>
                      <a:pt x="1050" y="59"/>
                    </a:lnTo>
                    <a:lnTo>
                      <a:pt x="1052" y="57"/>
                    </a:lnTo>
                    <a:lnTo>
                      <a:pt x="1091" y="46"/>
                    </a:lnTo>
                    <a:lnTo>
                      <a:pt x="1121" y="33"/>
                    </a:lnTo>
                    <a:lnTo>
                      <a:pt x="1123" y="33"/>
                    </a:lnTo>
                    <a:lnTo>
                      <a:pt x="1125" y="31"/>
                    </a:lnTo>
                    <a:lnTo>
                      <a:pt x="1143" y="10"/>
                    </a:lnTo>
                    <a:lnTo>
                      <a:pt x="1143" y="8"/>
                    </a:lnTo>
                    <a:lnTo>
                      <a:pt x="1145" y="7"/>
                    </a:lnTo>
                    <a:lnTo>
                      <a:pt x="1145" y="5"/>
                    </a:lnTo>
                    <a:lnTo>
                      <a:pt x="1143" y="3"/>
                    </a:lnTo>
                    <a:lnTo>
                      <a:pt x="1143" y="2"/>
                    </a:lnTo>
                    <a:lnTo>
                      <a:pt x="1141" y="2"/>
                    </a:lnTo>
                    <a:lnTo>
                      <a:pt x="1140" y="0"/>
                    </a:lnTo>
                    <a:lnTo>
                      <a:pt x="1133" y="0"/>
                    </a:lnTo>
                    <a:lnTo>
                      <a:pt x="1133" y="2"/>
                    </a:lnTo>
                    <a:lnTo>
                      <a:pt x="1115" y="23"/>
                    </a:lnTo>
                    <a:lnTo>
                      <a:pt x="1116" y="21"/>
                    </a:lnTo>
                    <a:lnTo>
                      <a:pt x="1086" y="34"/>
                    </a:lnTo>
                    <a:lnTo>
                      <a:pt x="1088" y="34"/>
                    </a:lnTo>
                    <a:lnTo>
                      <a:pt x="1048" y="46"/>
                    </a:lnTo>
                    <a:lnTo>
                      <a:pt x="988" y="54"/>
                    </a:lnTo>
                    <a:lnTo>
                      <a:pt x="866" y="62"/>
                    </a:lnTo>
                    <a:lnTo>
                      <a:pt x="867" y="62"/>
                    </a:lnTo>
                    <a:lnTo>
                      <a:pt x="645" y="67"/>
                    </a:lnTo>
                    <a:lnTo>
                      <a:pt x="397" y="69"/>
                    </a:lnTo>
                    <a:lnTo>
                      <a:pt x="7" y="6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22">
                <a:extLst>
                  <a:ext uri="{FF2B5EF4-FFF2-40B4-BE49-F238E27FC236}">
                    <a16:creationId xmlns:a16="http://schemas.microsoft.com/office/drawing/2014/main" id="{E16F009C-B092-4BCE-88D4-B7C9937D3B2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731" y="2776"/>
                <a:ext cx="1402" cy="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3" y="29"/>
                  </a:cxn>
                  <a:cxn ang="0">
                    <a:pos x="5" y="29"/>
                  </a:cxn>
                  <a:cxn ang="0">
                    <a:pos x="7" y="31"/>
                  </a:cxn>
                  <a:cxn ang="0">
                    <a:pos x="236" y="32"/>
                  </a:cxn>
                  <a:cxn ang="0">
                    <a:pos x="385" y="34"/>
                  </a:cxn>
                  <a:cxn ang="0">
                    <a:pos x="646" y="37"/>
                  </a:cxn>
                  <a:cxn ang="0">
                    <a:pos x="852" y="39"/>
                  </a:cxn>
                  <a:cxn ang="0">
                    <a:pos x="1010" y="34"/>
                  </a:cxn>
                  <a:cxn ang="0">
                    <a:pos x="1078" y="27"/>
                  </a:cxn>
                  <a:cxn ang="0">
                    <a:pos x="1124" y="19"/>
                  </a:cxn>
                  <a:cxn ang="0">
                    <a:pos x="1126" y="18"/>
                  </a:cxn>
                  <a:cxn ang="0">
                    <a:pos x="1149" y="11"/>
                  </a:cxn>
                  <a:cxn ang="0">
                    <a:pos x="1151" y="11"/>
                  </a:cxn>
                  <a:cxn ang="0">
                    <a:pos x="1154" y="8"/>
                  </a:cxn>
                  <a:cxn ang="0">
                    <a:pos x="1154" y="6"/>
                  </a:cxn>
                  <a:cxn ang="0">
                    <a:pos x="1153" y="5"/>
                  </a:cxn>
                  <a:cxn ang="0">
                    <a:pos x="1153" y="3"/>
                  </a:cxn>
                  <a:cxn ang="0">
                    <a:pos x="1151" y="1"/>
                  </a:cxn>
                  <a:cxn ang="0">
                    <a:pos x="1151" y="0"/>
                  </a:cxn>
                  <a:cxn ang="0">
                    <a:pos x="1146" y="0"/>
                  </a:cxn>
                  <a:cxn ang="0">
                    <a:pos x="1123" y="6"/>
                  </a:cxn>
                  <a:cxn ang="0">
                    <a:pos x="1076" y="14"/>
                  </a:cxn>
                  <a:cxn ang="0">
                    <a:pos x="1008" y="21"/>
                  </a:cxn>
                  <a:cxn ang="0">
                    <a:pos x="850" y="26"/>
                  </a:cxn>
                  <a:cxn ang="0">
                    <a:pos x="852" y="26"/>
                  </a:cxn>
                  <a:cxn ang="0">
                    <a:pos x="646" y="24"/>
                  </a:cxn>
                  <a:cxn ang="0">
                    <a:pos x="385" y="21"/>
                  </a:cxn>
                  <a:cxn ang="0">
                    <a:pos x="236" y="19"/>
                  </a:cxn>
                  <a:cxn ang="0">
                    <a:pos x="7" y="18"/>
                  </a:cxn>
                </a:cxnLst>
                <a:rect l="0" t="0" r="r" b="b"/>
                <a:pathLst>
                  <a:path w="1154" h="39">
                    <a:moveTo>
                      <a:pt x="7" y="18"/>
                    </a:moveTo>
                    <a:lnTo>
                      <a:pt x="3" y="18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7" y="31"/>
                    </a:lnTo>
                    <a:lnTo>
                      <a:pt x="236" y="32"/>
                    </a:lnTo>
                    <a:lnTo>
                      <a:pt x="385" y="34"/>
                    </a:lnTo>
                    <a:lnTo>
                      <a:pt x="646" y="37"/>
                    </a:lnTo>
                    <a:lnTo>
                      <a:pt x="852" y="39"/>
                    </a:lnTo>
                    <a:lnTo>
                      <a:pt x="1010" y="34"/>
                    </a:lnTo>
                    <a:lnTo>
                      <a:pt x="1078" y="27"/>
                    </a:lnTo>
                    <a:lnTo>
                      <a:pt x="1124" y="19"/>
                    </a:lnTo>
                    <a:lnTo>
                      <a:pt x="1126" y="18"/>
                    </a:lnTo>
                    <a:lnTo>
                      <a:pt x="1149" y="11"/>
                    </a:lnTo>
                    <a:lnTo>
                      <a:pt x="1151" y="11"/>
                    </a:lnTo>
                    <a:lnTo>
                      <a:pt x="1154" y="8"/>
                    </a:lnTo>
                    <a:lnTo>
                      <a:pt x="1154" y="6"/>
                    </a:lnTo>
                    <a:lnTo>
                      <a:pt x="1153" y="5"/>
                    </a:lnTo>
                    <a:lnTo>
                      <a:pt x="1153" y="3"/>
                    </a:lnTo>
                    <a:lnTo>
                      <a:pt x="1151" y="1"/>
                    </a:lnTo>
                    <a:lnTo>
                      <a:pt x="1151" y="0"/>
                    </a:lnTo>
                    <a:lnTo>
                      <a:pt x="1146" y="0"/>
                    </a:lnTo>
                    <a:lnTo>
                      <a:pt x="1123" y="6"/>
                    </a:lnTo>
                    <a:lnTo>
                      <a:pt x="1076" y="14"/>
                    </a:lnTo>
                    <a:lnTo>
                      <a:pt x="1008" y="21"/>
                    </a:lnTo>
                    <a:lnTo>
                      <a:pt x="850" y="26"/>
                    </a:lnTo>
                    <a:lnTo>
                      <a:pt x="852" y="26"/>
                    </a:lnTo>
                    <a:lnTo>
                      <a:pt x="646" y="24"/>
                    </a:lnTo>
                    <a:lnTo>
                      <a:pt x="385" y="21"/>
                    </a:lnTo>
                    <a:lnTo>
                      <a:pt x="236" y="19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23">
                <a:extLst>
                  <a:ext uri="{FF2B5EF4-FFF2-40B4-BE49-F238E27FC236}">
                    <a16:creationId xmlns:a16="http://schemas.microsoft.com/office/drawing/2014/main" id="{FC561FA4-44A8-4AE8-85FF-17C1B60CFAD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7" y="3221"/>
                <a:ext cx="495" cy="41"/>
              </a:xfrm>
              <a:custGeom>
                <a:avLst/>
                <a:gdLst/>
                <a:ahLst/>
                <a:cxnLst>
                  <a:cxn ang="0">
                    <a:pos x="7" y="21"/>
                  </a:cxn>
                  <a:cxn ang="0">
                    <a:pos x="4" y="21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263" y="31"/>
                  </a:cxn>
                  <a:cxn ang="0">
                    <a:pos x="341" y="22"/>
                  </a:cxn>
                  <a:cxn ang="0">
                    <a:pos x="377" y="19"/>
                  </a:cxn>
                  <a:cxn ang="0">
                    <a:pos x="379" y="18"/>
                  </a:cxn>
                  <a:cxn ang="0">
                    <a:pos x="402" y="11"/>
                  </a:cxn>
                  <a:cxn ang="0">
                    <a:pos x="404" y="11"/>
                  </a:cxn>
                  <a:cxn ang="0">
                    <a:pos x="407" y="8"/>
                  </a:cxn>
                  <a:cxn ang="0">
                    <a:pos x="407" y="6"/>
                  </a:cxn>
                  <a:cxn ang="0">
                    <a:pos x="406" y="5"/>
                  </a:cxn>
                  <a:cxn ang="0">
                    <a:pos x="406" y="3"/>
                  </a:cxn>
                  <a:cxn ang="0">
                    <a:pos x="404" y="1"/>
                  </a:cxn>
                  <a:cxn ang="0">
                    <a:pos x="404" y="0"/>
                  </a:cxn>
                  <a:cxn ang="0">
                    <a:pos x="399" y="0"/>
                  </a:cxn>
                  <a:cxn ang="0">
                    <a:pos x="376" y="6"/>
                  </a:cxn>
                  <a:cxn ang="0">
                    <a:pos x="339" y="9"/>
                  </a:cxn>
                  <a:cxn ang="0">
                    <a:pos x="261" y="18"/>
                  </a:cxn>
                  <a:cxn ang="0">
                    <a:pos x="263" y="18"/>
                  </a:cxn>
                  <a:cxn ang="0">
                    <a:pos x="7" y="21"/>
                  </a:cxn>
                </a:cxnLst>
                <a:rect l="0" t="0" r="r" b="b"/>
                <a:pathLst>
                  <a:path w="407" h="34">
                    <a:moveTo>
                      <a:pt x="7" y="21"/>
                    </a:moveTo>
                    <a:lnTo>
                      <a:pt x="4" y="21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63" y="31"/>
                    </a:lnTo>
                    <a:lnTo>
                      <a:pt x="341" y="22"/>
                    </a:lnTo>
                    <a:lnTo>
                      <a:pt x="377" y="19"/>
                    </a:lnTo>
                    <a:lnTo>
                      <a:pt x="379" y="18"/>
                    </a:lnTo>
                    <a:lnTo>
                      <a:pt x="402" y="11"/>
                    </a:lnTo>
                    <a:lnTo>
                      <a:pt x="404" y="11"/>
                    </a:lnTo>
                    <a:lnTo>
                      <a:pt x="407" y="8"/>
                    </a:lnTo>
                    <a:lnTo>
                      <a:pt x="407" y="6"/>
                    </a:lnTo>
                    <a:lnTo>
                      <a:pt x="406" y="5"/>
                    </a:lnTo>
                    <a:lnTo>
                      <a:pt x="406" y="3"/>
                    </a:lnTo>
                    <a:lnTo>
                      <a:pt x="404" y="1"/>
                    </a:lnTo>
                    <a:lnTo>
                      <a:pt x="404" y="0"/>
                    </a:lnTo>
                    <a:lnTo>
                      <a:pt x="399" y="0"/>
                    </a:lnTo>
                    <a:lnTo>
                      <a:pt x="376" y="6"/>
                    </a:lnTo>
                    <a:lnTo>
                      <a:pt x="339" y="9"/>
                    </a:lnTo>
                    <a:lnTo>
                      <a:pt x="261" y="18"/>
                    </a:lnTo>
                    <a:lnTo>
                      <a:pt x="263" y="18"/>
                    </a:lnTo>
                    <a:lnTo>
                      <a:pt x="7" y="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24">
                <a:extLst>
                  <a:ext uri="{FF2B5EF4-FFF2-40B4-BE49-F238E27FC236}">
                    <a16:creationId xmlns:a16="http://schemas.microsoft.com/office/drawing/2014/main" id="{97CF6ECA-F669-4685-A014-336DA71D49D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0" y="3364"/>
                <a:ext cx="94" cy="38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7" y="11"/>
                  </a:cxn>
                  <a:cxn ang="0">
                    <a:pos x="10" y="13"/>
                  </a:cxn>
                  <a:cxn ang="0">
                    <a:pos x="13" y="14"/>
                  </a:cxn>
                  <a:cxn ang="0">
                    <a:pos x="27" y="14"/>
                  </a:cxn>
                  <a:cxn ang="0">
                    <a:pos x="60" y="19"/>
                  </a:cxn>
                  <a:cxn ang="0">
                    <a:pos x="65" y="21"/>
                  </a:cxn>
                  <a:cxn ang="0">
                    <a:pos x="66" y="22"/>
                  </a:cxn>
                  <a:cxn ang="0">
                    <a:pos x="65" y="14"/>
                  </a:cxn>
                  <a:cxn ang="0">
                    <a:pos x="60" y="16"/>
                  </a:cxn>
                  <a:cxn ang="0">
                    <a:pos x="40" y="17"/>
                  </a:cxn>
                  <a:cxn ang="0">
                    <a:pos x="27" y="14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10" y="11"/>
                  </a:cxn>
                  <a:cxn ang="0">
                    <a:pos x="7" y="13"/>
                  </a:cxn>
                  <a:cxn ang="0">
                    <a:pos x="15" y="14"/>
                  </a:cxn>
                  <a:cxn ang="0">
                    <a:pos x="18" y="13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1"/>
                  </a:cxn>
                  <a:cxn ang="0">
                    <a:pos x="10" y="0"/>
                  </a:cxn>
                  <a:cxn ang="0">
                    <a:pos x="0" y="4"/>
                  </a:cxn>
                  <a:cxn ang="0">
                    <a:pos x="2" y="14"/>
                  </a:cxn>
                  <a:cxn ang="0">
                    <a:pos x="7" y="21"/>
                  </a:cxn>
                  <a:cxn ang="0">
                    <a:pos x="22" y="26"/>
                  </a:cxn>
                  <a:cxn ang="0">
                    <a:pos x="38" y="31"/>
                  </a:cxn>
                  <a:cxn ang="0">
                    <a:pos x="61" y="29"/>
                  </a:cxn>
                  <a:cxn ang="0">
                    <a:pos x="70" y="27"/>
                  </a:cxn>
                  <a:cxn ang="0">
                    <a:pos x="73" y="24"/>
                  </a:cxn>
                  <a:cxn ang="0">
                    <a:pos x="75" y="22"/>
                  </a:cxn>
                  <a:cxn ang="0">
                    <a:pos x="76" y="21"/>
                  </a:cxn>
                  <a:cxn ang="0">
                    <a:pos x="76" y="17"/>
                  </a:cxn>
                  <a:cxn ang="0">
                    <a:pos x="70" y="9"/>
                  </a:cxn>
                  <a:cxn ang="0">
                    <a:pos x="61" y="6"/>
                  </a:cxn>
                  <a:cxn ang="0">
                    <a:pos x="28" y="1"/>
                  </a:cxn>
                </a:cxnLst>
                <a:rect l="0" t="0" r="r" b="b"/>
                <a:pathLst>
                  <a:path w="78" h="31">
                    <a:moveTo>
                      <a:pt x="13" y="1"/>
                    </a:moveTo>
                    <a:lnTo>
                      <a:pt x="10" y="1"/>
                    </a:lnTo>
                    <a:lnTo>
                      <a:pt x="7" y="4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3" y="14"/>
                    </a:lnTo>
                    <a:lnTo>
                      <a:pt x="28" y="14"/>
                    </a:lnTo>
                    <a:lnTo>
                      <a:pt x="27" y="14"/>
                    </a:lnTo>
                    <a:lnTo>
                      <a:pt x="43" y="17"/>
                    </a:lnTo>
                    <a:lnTo>
                      <a:pt x="60" y="19"/>
                    </a:lnTo>
                    <a:lnTo>
                      <a:pt x="58" y="17"/>
                    </a:lnTo>
                    <a:lnTo>
                      <a:pt x="65" y="21"/>
                    </a:lnTo>
                    <a:lnTo>
                      <a:pt x="63" y="19"/>
                    </a:lnTo>
                    <a:lnTo>
                      <a:pt x="66" y="22"/>
                    </a:lnTo>
                    <a:lnTo>
                      <a:pt x="68" y="13"/>
                    </a:lnTo>
                    <a:lnTo>
                      <a:pt x="65" y="14"/>
                    </a:lnTo>
                    <a:lnTo>
                      <a:pt x="66" y="14"/>
                    </a:lnTo>
                    <a:lnTo>
                      <a:pt x="60" y="16"/>
                    </a:lnTo>
                    <a:lnTo>
                      <a:pt x="38" y="17"/>
                    </a:lnTo>
                    <a:lnTo>
                      <a:pt x="40" y="17"/>
                    </a:lnTo>
                    <a:lnTo>
                      <a:pt x="25" y="14"/>
                    </a:lnTo>
                    <a:lnTo>
                      <a:pt x="27" y="14"/>
                    </a:lnTo>
                    <a:lnTo>
                      <a:pt x="13" y="9"/>
                    </a:lnTo>
                    <a:lnTo>
                      <a:pt x="15" y="11"/>
                    </a:lnTo>
                    <a:lnTo>
                      <a:pt x="10" y="6"/>
                    </a:lnTo>
                    <a:lnTo>
                      <a:pt x="13" y="11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12" y="9"/>
                    </a:lnTo>
                    <a:lnTo>
                      <a:pt x="7" y="13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7" y="13"/>
                    </a:lnTo>
                    <a:lnTo>
                      <a:pt x="18" y="13"/>
                    </a:lnTo>
                    <a:lnTo>
                      <a:pt x="22" y="9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8" y="3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7" y="19"/>
                    </a:lnTo>
                    <a:lnTo>
                      <a:pt x="7" y="21"/>
                    </a:lnTo>
                    <a:lnTo>
                      <a:pt x="8" y="21"/>
                    </a:lnTo>
                    <a:lnTo>
                      <a:pt x="22" y="26"/>
                    </a:lnTo>
                    <a:lnTo>
                      <a:pt x="23" y="27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61" y="29"/>
                    </a:lnTo>
                    <a:lnTo>
                      <a:pt x="63" y="29"/>
                    </a:lnTo>
                    <a:lnTo>
                      <a:pt x="70" y="27"/>
                    </a:lnTo>
                    <a:lnTo>
                      <a:pt x="70" y="26"/>
                    </a:lnTo>
                    <a:lnTo>
                      <a:pt x="73" y="24"/>
                    </a:lnTo>
                    <a:lnTo>
                      <a:pt x="75" y="24"/>
                    </a:lnTo>
                    <a:lnTo>
                      <a:pt x="75" y="22"/>
                    </a:lnTo>
                    <a:lnTo>
                      <a:pt x="76" y="22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76" y="17"/>
                    </a:lnTo>
                    <a:lnTo>
                      <a:pt x="76" y="16"/>
                    </a:lnTo>
                    <a:lnTo>
                      <a:pt x="70" y="9"/>
                    </a:lnTo>
                    <a:lnTo>
                      <a:pt x="63" y="6"/>
                    </a:lnTo>
                    <a:lnTo>
                      <a:pt x="61" y="6"/>
                    </a:lnTo>
                    <a:lnTo>
                      <a:pt x="45" y="4"/>
                    </a:lnTo>
                    <a:lnTo>
                      <a:pt x="28" y="1"/>
                    </a:lnTo>
                    <a:lnTo>
                      <a:pt x="13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25">
                <a:extLst>
                  <a:ext uri="{FF2B5EF4-FFF2-40B4-BE49-F238E27FC236}">
                    <a16:creationId xmlns:a16="http://schemas.microsoft.com/office/drawing/2014/main" id="{EDDB8E47-2668-4F5B-950C-E4F172A4F95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2" y="3471"/>
                <a:ext cx="105" cy="1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1" y="11"/>
                  </a:cxn>
                  <a:cxn ang="0">
                    <a:pos x="3" y="11"/>
                  </a:cxn>
                  <a:cxn ang="0">
                    <a:pos x="18" y="19"/>
                  </a:cxn>
                  <a:cxn ang="0">
                    <a:pos x="34" y="29"/>
                  </a:cxn>
                  <a:cxn ang="0">
                    <a:pos x="33" y="27"/>
                  </a:cxn>
                  <a:cxn ang="0">
                    <a:pos x="41" y="37"/>
                  </a:cxn>
                  <a:cxn ang="0">
                    <a:pos x="53" y="48"/>
                  </a:cxn>
                  <a:cxn ang="0">
                    <a:pos x="51" y="48"/>
                  </a:cxn>
                  <a:cxn ang="0">
                    <a:pos x="59" y="63"/>
                  </a:cxn>
                  <a:cxn ang="0">
                    <a:pos x="59" y="62"/>
                  </a:cxn>
                  <a:cxn ang="0">
                    <a:pos x="68" y="79"/>
                  </a:cxn>
                  <a:cxn ang="0">
                    <a:pos x="73" y="91"/>
                  </a:cxn>
                  <a:cxn ang="0">
                    <a:pos x="73" y="89"/>
                  </a:cxn>
                  <a:cxn ang="0">
                    <a:pos x="73" y="99"/>
                  </a:cxn>
                  <a:cxn ang="0">
                    <a:pos x="74" y="99"/>
                  </a:cxn>
                  <a:cxn ang="0">
                    <a:pos x="76" y="101"/>
                  </a:cxn>
                  <a:cxn ang="0">
                    <a:pos x="78" y="101"/>
                  </a:cxn>
                  <a:cxn ang="0">
                    <a:pos x="79" y="102"/>
                  </a:cxn>
                  <a:cxn ang="0">
                    <a:pos x="81" y="101"/>
                  </a:cxn>
                  <a:cxn ang="0">
                    <a:pos x="83" y="101"/>
                  </a:cxn>
                  <a:cxn ang="0">
                    <a:pos x="83" y="99"/>
                  </a:cxn>
                  <a:cxn ang="0">
                    <a:pos x="84" y="99"/>
                  </a:cxn>
                  <a:cxn ang="0">
                    <a:pos x="84" y="97"/>
                  </a:cxn>
                  <a:cxn ang="0">
                    <a:pos x="86" y="96"/>
                  </a:cxn>
                  <a:cxn ang="0">
                    <a:pos x="86" y="89"/>
                  </a:cxn>
                  <a:cxn ang="0">
                    <a:pos x="86" y="88"/>
                  </a:cxn>
                  <a:cxn ang="0">
                    <a:pos x="84" y="86"/>
                  </a:cxn>
                  <a:cxn ang="0">
                    <a:pos x="79" y="75"/>
                  </a:cxn>
                  <a:cxn ang="0">
                    <a:pos x="71" y="57"/>
                  </a:cxn>
                  <a:cxn ang="0">
                    <a:pos x="63" y="42"/>
                  </a:cxn>
                  <a:cxn ang="0">
                    <a:pos x="49" y="29"/>
                  </a:cxn>
                  <a:cxn ang="0">
                    <a:pos x="51" y="29"/>
                  </a:cxn>
                  <a:cxn ang="0">
                    <a:pos x="43" y="19"/>
                  </a:cxn>
                  <a:cxn ang="0">
                    <a:pos x="41" y="17"/>
                  </a:cxn>
                  <a:cxn ang="0">
                    <a:pos x="24" y="8"/>
                  </a:cxn>
                  <a:cxn ang="0">
                    <a:pos x="10" y="0"/>
                  </a:cxn>
                </a:cxnLst>
                <a:rect l="0" t="0" r="r" b="b"/>
                <a:pathLst>
                  <a:path w="86" h="10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1"/>
                    </a:lnTo>
                    <a:lnTo>
                      <a:pt x="18" y="19"/>
                    </a:lnTo>
                    <a:lnTo>
                      <a:pt x="34" y="29"/>
                    </a:lnTo>
                    <a:lnTo>
                      <a:pt x="33" y="27"/>
                    </a:lnTo>
                    <a:lnTo>
                      <a:pt x="41" y="37"/>
                    </a:lnTo>
                    <a:lnTo>
                      <a:pt x="53" y="48"/>
                    </a:lnTo>
                    <a:lnTo>
                      <a:pt x="51" y="48"/>
                    </a:lnTo>
                    <a:lnTo>
                      <a:pt x="59" y="63"/>
                    </a:lnTo>
                    <a:lnTo>
                      <a:pt x="59" y="62"/>
                    </a:lnTo>
                    <a:lnTo>
                      <a:pt x="68" y="79"/>
                    </a:lnTo>
                    <a:lnTo>
                      <a:pt x="73" y="91"/>
                    </a:lnTo>
                    <a:lnTo>
                      <a:pt x="73" y="89"/>
                    </a:lnTo>
                    <a:lnTo>
                      <a:pt x="73" y="99"/>
                    </a:lnTo>
                    <a:lnTo>
                      <a:pt x="74" y="99"/>
                    </a:lnTo>
                    <a:lnTo>
                      <a:pt x="76" y="101"/>
                    </a:lnTo>
                    <a:lnTo>
                      <a:pt x="78" y="101"/>
                    </a:lnTo>
                    <a:lnTo>
                      <a:pt x="79" y="102"/>
                    </a:lnTo>
                    <a:lnTo>
                      <a:pt x="81" y="101"/>
                    </a:lnTo>
                    <a:lnTo>
                      <a:pt x="83" y="101"/>
                    </a:lnTo>
                    <a:lnTo>
                      <a:pt x="83" y="99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6" y="96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4" y="86"/>
                    </a:lnTo>
                    <a:lnTo>
                      <a:pt x="79" y="75"/>
                    </a:lnTo>
                    <a:lnTo>
                      <a:pt x="71" y="57"/>
                    </a:lnTo>
                    <a:lnTo>
                      <a:pt x="63" y="42"/>
                    </a:lnTo>
                    <a:lnTo>
                      <a:pt x="49" y="29"/>
                    </a:lnTo>
                    <a:lnTo>
                      <a:pt x="51" y="29"/>
                    </a:lnTo>
                    <a:lnTo>
                      <a:pt x="43" y="19"/>
                    </a:lnTo>
                    <a:lnTo>
                      <a:pt x="41" y="17"/>
                    </a:lnTo>
                    <a:lnTo>
                      <a:pt x="24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26">
                <a:extLst>
                  <a:ext uri="{FF2B5EF4-FFF2-40B4-BE49-F238E27FC236}">
                    <a16:creationId xmlns:a16="http://schemas.microsoft.com/office/drawing/2014/main" id="{B1F31F63-5E60-4949-A235-B2B5D343A7C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8" y="3467"/>
                <a:ext cx="91" cy="12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17" y="27"/>
                  </a:cxn>
                  <a:cxn ang="0">
                    <a:pos x="17" y="29"/>
                  </a:cxn>
                  <a:cxn ang="0">
                    <a:pos x="27" y="37"/>
                  </a:cxn>
                  <a:cxn ang="0">
                    <a:pos x="25" y="35"/>
                  </a:cxn>
                  <a:cxn ang="0">
                    <a:pos x="35" y="48"/>
                  </a:cxn>
                  <a:cxn ang="0">
                    <a:pos x="47" y="66"/>
                  </a:cxn>
                  <a:cxn ang="0">
                    <a:pos x="55" y="78"/>
                  </a:cxn>
                  <a:cxn ang="0">
                    <a:pos x="55" y="76"/>
                  </a:cxn>
                  <a:cxn ang="0">
                    <a:pos x="60" y="88"/>
                  </a:cxn>
                  <a:cxn ang="0">
                    <a:pos x="60" y="86"/>
                  </a:cxn>
                  <a:cxn ang="0">
                    <a:pos x="62" y="94"/>
                  </a:cxn>
                  <a:cxn ang="0">
                    <a:pos x="62" y="96"/>
                  </a:cxn>
                  <a:cxn ang="0">
                    <a:pos x="63" y="97"/>
                  </a:cxn>
                  <a:cxn ang="0">
                    <a:pos x="63" y="99"/>
                  </a:cxn>
                  <a:cxn ang="0">
                    <a:pos x="65" y="99"/>
                  </a:cxn>
                  <a:cxn ang="0">
                    <a:pos x="67" y="101"/>
                  </a:cxn>
                  <a:cxn ang="0">
                    <a:pos x="68" y="101"/>
                  </a:cxn>
                  <a:cxn ang="0">
                    <a:pos x="70" y="99"/>
                  </a:cxn>
                  <a:cxn ang="0">
                    <a:pos x="72" y="99"/>
                  </a:cxn>
                  <a:cxn ang="0">
                    <a:pos x="73" y="97"/>
                  </a:cxn>
                  <a:cxn ang="0">
                    <a:pos x="73" y="96"/>
                  </a:cxn>
                  <a:cxn ang="0">
                    <a:pos x="75" y="94"/>
                  </a:cxn>
                  <a:cxn ang="0">
                    <a:pos x="75" y="93"/>
                  </a:cxn>
                  <a:cxn ang="0">
                    <a:pos x="73" y="84"/>
                  </a:cxn>
                  <a:cxn ang="0">
                    <a:pos x="72" y="83"/>
                  </a:cxn>
                  <a:cxn ang="0">
                    <a:pos x="67" y="71"/>
                  </a:cxn>
                  <a:cxn ang="0">
                    <a:pos x="67" y="70"/>
                  </a:cxn>
                  <a:cxn ang="0">
                    <a:pos x="58" y="58"/>
                  </a:cxn>
                  <a:cxn ang="0">
                    <a:pos x="47" y="40"/>
                  </a:cxn>
                  <a:cxn ang="0">
                    <a:pos x="37" y="27"/>
                  </a:cxn>
                  <a:cxn ang="0">
                    <a:pos x="35" y="27"/>
                  </a:cxn>
                  <a:cxn ang="0">
                    <a:pos x="25" y="19"/>
                  </a:cxn>
                  <a:cxn ang="0">
                    <a:pos x="27" y="19"/>
                  </a:cxn>
                  <a:cxn ang="0">
                    <a:pos x="12" y="1"/>
                  </a:cxn>
                </a:cxnLst>
                <a:rect l="0" t="0" r="r" b="b"/>
                <a:pathLst>
                  <a:path w="75" h="101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35" y="48"/>
                    </a:lnTo>
                    <a:lnTo>
                      <a:pt x="47" y="66"/>
                    </a:lnTo>
                    <a:lnTo>
                      <a:pt x="55" y="78"/>
                    </a:lnTo>
                    <a:lnTo>
                      <a:pt x="55" y="76"/>
                    </a:lnTo>
                    <a:lnTo>
                      <a:pt x="60" y="88"/>
                    </a:lnTo>
                    <a:lnTo>
                      <a:pt x="60" y="86"/>
                    </a:lnTo>
                    <a:lnTo>
                      <a:pt x="62" y="94"/>
                    </a:lnTo>
                    <a:lnTo>
                      <a:pt x="62" y="96"/>
                    </a:lnTo>
                    <a:lnTo>
                      <a:pt x="63" y="97"/>
                    </a:lnTo>
                    <a:lnTo>
                      <a:pt x="63" y="99"/>
                    </a:lnTo>
                    <a:lnTo>
                      <a:pt x="65" y="99"/>
                    </a:lnTo>
                    <a:lnTo>
                      <a:pt x="67" y="101"/>
                    </a:lnTo>
                    <a:lnTo>
                      <a:pt x="68" y="101"/>
                    </a:lnTo>
                    <a:lnTo>
                      <a:pt x="70" y="99"/>
                    </a:lnTo>
                    <a:lnTo>
                      <a:pt x="72" y="99"/>
                    </a:lnTo>
                    <a:lnTo>
                      <a:pt x="73" y="97"/>
                    </a:lnTo>
                    <a:lnTo>
                      <a:pt x="73" y="96"/>
                    </a:lnTo>
                    <a:lnTo>
                      <a:pt x="75" y="94"/>
                    </a:lnTo>
                    <a:lnTo>
                      <a:pt x="75" y="93"/>
                    </a:lnTo>
                    <a:lnTo>
                      <a:pt x="73" y="84"/>
                    </a:lnTo>
                    <a:lnTo>
                      <a:pt x="72" y="83"/>
                    </a:lnTo>
                    <a:lnTo>
                      <a:pt x="67" y="71"/>
                    </a:lnTo>
                    <a:lnTo>
                      <a:pt x="67" y="70"/>
                    </a:lnTo>
                    <a:lnTo>
                      <a:pt x="58" y="58"/>
                    </a:lnTo>
                    <a:lnTo>
                      <a:pt x="47" y="4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27">
                <a:extLst>
                  <a:ext uri="{FF2B5EF4-FFF2-40B4-BE49-F238E27FC236}">
                    <a16:creationId xmlns:a16="http://schemas.microsoft.com/office/drawing/2014/main" id="{2A770583-BEA5-46C8-8E85-EEC3A475C74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47" y="3474"/>
                <a:ext cx="73" cy="104"/>
              </a:xfrm>
              <a:custGeom>
                <a:avLst/>
                <a:gdLst/>
                <a:ahLst/>
                <a:cxnLst>
                  <a:cxn ang="0">
                    <a:pos x="12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14" y="23"/>
                  </a:cxn>
                  <a:cxn ang="0">
                    <a:pos x="12" y="23"/>
                  </a:cxn>
                  <a:cxn ang="0">
                    <a:pos x="23" y="37"/>
                  </a:cxn>
                  <a:cxn ang="0">
                    <a:pos x="35" y="54"/>
                  </a:cxn>
                  <a:cxn ang="0">
                    <a:pos x="42" y="63"/>
                  </a:cxn>
                  <a:cxn ang="0">
                    <a:pos x="42" y="62"/>
                  </a:cxn>
                  <a:cxn ang="0">
                    <a:pos x="45" y="72"/>
                  </a:cxn>
                  <a:cxn ang="0">
                    <a:pos x="45" y="70"/>
                  </a:cxn>
                  <a:cxn ang="0">
                    <a:pos x="47" y="78"/>
                  </a:cxn>
                  <a:cxn ang="0">
                    <a:pos x="47" y="80"/>
                  </a:cxn>
                  <a:cxn ang="0">
                    <a:pos x="48" y="81"/>
                  </a:cxn>
                  <a:cxn ang="0">
                    <a:pos x="48" y="83"/>
                  </a:cxn>
                  <a:cxn ang="0">
                    <a:pos x="50" y="83"/>
                  </a:cxn>
                  <a:cxn ang="0">
                    <a:pos x="52" y="85"/>
                  </a:cxn>
                  <a:cxn ang="0">
                    <a:pos x="53" y="85"/>
                  </a:cxn>
                  <a:cxn ang="0">
                    <a:pos x="55" y="83"/>
                  </a:cxn>
                  <a:cxn ang="0">
                    <a:pos x="57" y="83"/>
                  </a:cxn>
                  <a:cxn ang="0">
                    <a:pos x="58" y="81"/>
                  </a:cxn>
                  <a:cxn ang="0">
                    <a:pos x="58" y="80"/>
                  </a:cxn>
                  <a:cxn ang="0">
                    <a:pos x="60" y="78"/>
                  </a:cxn>
                  <a:cxn ang="0">
                    <a:pos x="60" y="77"/>
                  </a:cxn>
                  <a:cxn ang="0">
                    <a:pos x="58" y="68"/>
                  </a:cxn>
                  <a:cxn ang="0">
                    <a:pos x="57" y="67"/>
                  </a:cxn>
                  <a:cxn ang="0">
                    <a:pos x="53" y="57"/>
                  </a:cxn>
                  <a:cxn ang="0">
                    <a:pos x="53" y="55"/>
                  </a:cxn>
                  <a:cxn ang="0">
                    <a:pos x="47" y="46"/>
                  </a:cxn>
                  <a:cxn ang="0">
                    <a:pos x="35" y="29"/>
                  </a:cxn>
                  <a:cxn ang="0">
                    <a:pos x="23" y="15"/>
                  </a:cxn>
                  <a:cxn ang="0">
                    <a:pos x="12" y="1"/>
                  </a:cxn>
                </a:cxnLst>
                <a:rect l="0" t="0" r="r" b="b"/>
                <a:pathLst>
                  <a:path w="60" h="85">
                    <a:moveTo>
                      <a:pt x="12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23" y="37"/>
                    </a:lnTo>
                    <a:lnTo>
                      <a:pt x="35" y="54"/>
                    </a:lnTo>
                    <a:lnTo>
                      <a:pt x="42" y="63"/>
                    </a:lnTo>
                    <a:lnTo>
                      <a:pt x="42" y="62"/>
                    </a:lnTo>
                    <a:lnTo>
                      <a:pt x="45" y="72"/>
                    </a:lnTo>
                    <a:lnTo>
                      <a:pt x="45" y="70"/>
                    </a:lnTo>
                    <a:lnTo>
                      <a:pt x="47" y="78"/>
                    </a:lnTo>
                    <a:lnTo>
                      <a:pt x="47" y="80"/>
                    </a:lnTo>
                    <a:lnTo>
                      <a:pt x="48" y="81"/>
                    </a:lnTo>
                    <a:lnTo>
                      <a:pt x="48" y="83"/>
                    </a:lnTo>
                    <a:lnTo>
                      <a:pt x="50" y="83"/>
                    </a:lnTo>
                    <a:lnTo>
                      <a:pt x="52" y="85"/>
                    </a:lnTo>
                    <a:lnTo>
                      <a:pt x="53" y="85"/>
                    </a:lnTo>
                    <a:lnTo>
                      <a:pt x="55" y="83"/>
                    </a:lnTo>
                    <a:lnTo>
                      <a:pt x="57" y="83"/>
                    </a:lnTo>
                    <a:lnTo>
                      <a:pt x="58" y="81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7"/>
                    </a:lnTo>
                    <a:lnTo>
                      <a:pt x="58" y="68"/>
                    </a:lnTo>
                    <a:lnTo>
                      <a:pt x="57" y="67"/>
                    </a:lnTo>
                    <a:lnTo>
                      <a:pt x="53" y="57"/>
                    </a:lnTo>
                    <a:lnTo>
                      <a:pt x="53" y="55"/>
                    </a:lnTo>
                    <a:lnTo>
                      <a:pt x="47" y="46"/>
                    </a:lnTo>
                    <a:lnTo>
                      <a:pt x="35" y="29"/>
                    </a:lnTo>
                    <a:lnTo>
                      <a:pt x="23" y="15"/>
                    </a:lnTo>
                    <a:lnTo>
                      <a:pt x="12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28">
                <a:extLst>
                  <a:ext uri="{FF2B5EF4-FFF2-40B4-BE49-F238E27FC236}">
                    <a16:creationId xmlns:a16="http://schemas.microsoft.com/office/drawing/2014/main" id="{85D52482-C8E7-4FEC-95A3-DEBD75E2BAF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2" y="3496"/>
                <a:ext cx="28" cy="1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4"/>
                  </a:cxn>
                  <a:cxn ang="0">
                    <a:pos x="15" y="15"/>
                  </a:cxn>
                  <a:cxn ang="0">
                    <a:pos x="16" y="15"/>
                  </a:cxn>
                  <a:cxn ang="0">
                    <a:pos x="18" y="14"/>
                  </a:cxn>
                  <a:cxn ang="0">
                    <a:pos x="20" y="14"/>
                  </a:cxn>
                  <a:cxn ang="0">
                    <a:pos x="21" y="12"/>
                  </a:cxn>
                  <a:cxn ang="0">
                    <a:pos x="21" y="10"/>
                  </a:cxn>
                  <a:cxn ang="0">
                    <a:pos x="23" y="9"/>
                  </a:cxn>
                  <a:cxn ang="0">
                    <a:pos x="23" y="7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6" y="2"/>
                  </a:cxn>
                  <a:cxn ang="0">
                    <a:pos x="7" y="0"/>
                  </a:cxn>
                </a:cxnLst>
                <a:rect l="0" t="0" r="r" b="b"/>
                <a:pathLst>
                  <a:path w="23" h="15">
                    <a:moveTo>
                      <a:pt x="7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15" y="15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29">
                <a:extLst>
                  <a:ext uri="{FF2B5EF4-FFF2-40B4-BE49-F238E27FC236}">
                    <a16:creationId xmlns:a16="http://schemas.microsoft.com/office/drawing/2014/main" id="{7A67E826-21BD-4107-B3D8-59773C12E4F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3518"/>
                <a:ext cx="53" cy="39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32" y="31"/>
                  </a:cxn>
                  <a:cxn ang="0">
                    <a:pos x="34" y="31"/>
                  </a:cxn>
                  <a:cxn ang="0">
                    <a:pos x="35" y="32"/>
                  </a:cxn>
                  <a:cxn ang="0">
                    <a:pos x="37" y="32"/>
                  </a:cxn>
                  <a:cxn ang="0">
                    <a:pos x="39" y="31"/>
                  </a:cxn>
                  <a:cxn ang="0">
                    <a:pos x="40" y="31"/>
                  </a:cxn>
                  <a:cxn ang="0">
                    <a:pos x="42" y="29"/>
                  </a:cxn>
                  <a:cxn ang="0">
                    <a:pos x="42" y="27"/>
                  </a:cxn>
                  <a:cxn ang="0">
                    <a:pos x="44" y="26"/>
                  </a:cxn>
                  <a:cxn ang="0">
                    <a:pos x="44" y="24"/>
                  </a:cxn>
                  <a:cxn ang="0">
                    <a:pos x="42" y="22"/>
                  </a:cxn>
                  <a:cxn ang="0">
                    <a:pos x="42" y="21"/>
                  </a:cxn>
                  <a:cxn ang="0">
                    <a:pos x="40" y="19"/>
                  </a:cxn>
                  <a:cxn ang="0">
                    <a:pos x="10" y="0"/>
                  </a:cxn>
                </a:cxnLst>
                <a:rect l="0" t="0" r="r" b="b"/>
                <a:pathLst>
                  <a:path w="44" h="32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32" y="31"/>
                    </a:lnTo>
                    <a:lnTo>
                      <a:pt x="34" y="31"/>
                    </a:lnTo>
                    <a:lnTo>
                      <a:pt x="35" y="32"/>
                    </a:lnTo>
                    <a:lnTo>
                      <a:pt x="37" y="32"/>
                    </a:lnTo>
                    <a:lnTo>
                      <a:pt x="39" y="31"/>
                    </a:lnTo>
                    <a:lnTo>
                      <a:pt x="40" y="31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2" y="22"/>
                    </a:lnTo>
                    <a:lnTo>
                      <a:pt x="42" y="21"/>
                    </a:lnTo>
                    <a:lnTo>
                      <a:pt x="40" y="1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30">
                <a:extLst>
                  <a:ext uri="{FF2B5EF4-FFF2-40B4-BE49-F238E27FC236}">
                    <a16:creationId xmlns:a16="http://schemas.microsoft.com/office/drawing/2014/main" id="{0C4768D9-576F-4150-96F0-4D81B0ACAC1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3" y="3464"/>
                <a:ext cx="113" cy="123"/>
              </a:xfrm>
              <a:custGeom>
                <a:avLst/>
                <a:gdLst/>
                <a:ahLst/>
                <a:cxnLst>
                  <a:cxn ang="0">
                    <a:pos x="91" y="8"/>
                  </a:cxn>
                  <a:cxn ang="0">
                    <a:pos x="93" y="6"/>
                  </a:cxn>
                  <a:cxn ang="0">
                    <a:pos x="93" y="4"/>
                  </a:cxn>
                  <a:cxn ang="0">
                    <a:pos x="91" y="3"/>
                  </a:cxn>
                  <a:cxn ang="0">
                    <a:pos x="91" y="1"/>
                  </a:cxn>
                  <a:cxn ang="0">
                    <a:pos x="89" y="0"/>
                  </a:cxn>
                  <a:cxn ang="0">
                    <a:pos x="83" y="0"/>
                  </a:cxn>
                  <a:cxn ang="0">
                    <a:pos x="79" y="3"/>
                  </a:cxn>
                  <a:cxn ang="0">
                    <a:pos x="74" y="19"/>
                  </a:cxn>
                  <a:cxn ang="0">
                    <a:pos x="66" y="37"/>
                  </a:cxn>
                  <a:cxn ang="0">
                    <a:pos x="66" y="35"/>
                  </a:cxn>
                  <a:cxn ang="0">
                    <a:pos x="51" y="55"/>
                  </a:cxn>
                  <a:cxn ang="0">
                    <a:pos x="51" y="57"/>
                  </a:cxn>
                  <a:cxn ang="0">
                    <a:pos x="46" y="65"/>
                  </a:cxn>
                  <a:cxn ang="0">
                    <a:pos x="48" y="63"/>
                  </a:cxn>
                  <a:cxn ang="0">
                    <a:pos x="39" y="70"/>
                  </a:cxn>
                  <a:cxn ang="0">
                    <a:pos x="39" y="68"/>
                  </a:cxn>
                  <a:cxn ang="0">
                    <a:pos x="28" y="76"/>
                  </a:cxn>
                  <a:cxn ang="0">
                    <a:pos x="30" y="76"/>
                  </a:cxn>
                  <a:cxn ang="0">
                    <a:pos x="15" y="84"/>
                  </a:cxn>
                  <a:cxn ang="0">
                    <a:pos x="16" y="84"/>
                  </a:cxn>
                  <a:cxn ang="0">
                    <a:pos x="5" y="88"/>
                  </a:cxn>
                  <a:cxn ang="0">
                    <a:pos x="3" y="88"/>
                  </a:cxn>
                  <a:cxn ang="0">
                    <a:pos x="0" y="91"/>
                  </a:cxn>
                  <a:cxn ang="0">
                    <a:pos x="0" y="97"/>
                  </a:cxn>
                  <a:cxn ang="0">
                    <a:pos x="1" y="99"/>
                  </a:cxn>
                  <a:cxn ang="0">
                    <a:pos x="3" y="99"/>
                  </a:cxn>
                  <a:cxn ang="0">
                    <a:pos x="5" y="101"/>
                  </a:cxn>
                  <a:cxn ang="0">
                    <a:pos x="6" y="101"/>
                  </a:cxn>
                  <a:cxn ang="0">
                    <a:pos x="8" y="99"/>
                  </a:cxn>
                  <a:cxn ang="0">
                    <a:pos x="20" y="96"/>
                  </a:cxn>
                  <a:cxn ang="0">
                    <a:pos x="21" y="96"/>
                  </a:cxn>
                  <a:cxn ang="0">
                    <a:pos x="36" y="88"/>
                  </a:cxn>
                  <a:cxn ang="0">
                    <a:pos x="48" y="80"/>
                  </a:cxn>
                  <a:cxn ang="0">
                    <a:pos x="56" y="73"/>
                  </a:cxn>
                  <a:cxn ang="0">
                    <a:pos x="58" y="71"/>
                  </a:cxn>
                  <a:cxn ang="0">
                    <a:pos x="63" y="63"/>
                  </a:cxn>
                  <a:cxn ang="0">
                    <a:pos x="78" y="44"/>
                  </a:cxn>
                  <a:cxn ang="0">
                    <a:pos x="78" y="42"/>
                  </a:cxn>
                  <a:cxn ang="0">
                    <a:pos x="86" y="24"/>
                  </a:cxn>
                  <a:cxn ang="0">
                    <a:pos x="91" y="8"/>
                  </a:cxn>
                </a:cxnLst>
                <a:rect l="0" t="0" r="r" b="b"/>
                <a:pathLst>
                  <a:path w="93" h="101">
                    <a:moveTo>
                      <a:pt x="91" y="8"/>
                    </a:moveTo>
                    <a:lnTo>
                      <a:pt x="93" y="6"/>
                    </a:lnTo>
                    <a:lnTo>
                      <a:pt x="93" y="4"/>
                    </a:lnTo>
                    <a:lnTo>
                      <a:pt x="91" y="3"/>
                    </a:lnTo>
                    <a:lnTo>
                      <a:pt x="91" y="1"/>
                    </a:lnTo>
                    <a:lnTo>
                      <a:pt x="89" y="0"/>
                    </a:lnTo>
                    <a:lnTo>
                      <a:pt x="83" y="0"/>
                    </a:lnTo>
                    <a:lnTo>
                      <a:pt x="79" y="3"/>
                    </a:lnTo>
                    <a:lnTo>
                      <a:pt x="74" y="19"/>
                    </a:lnTo>
                    <a:lnTo>
                      <a:pt x="66" y="37"/>
                    </a:lnTo>
                    <a:lnTo>
                      <a:pt x="66" y="35"/>
                    </a:lnTo>
                    <a:lnTo>
                      <a:pt x="51" y="55"/>
                    </a:lnTo>
                    <a:lnTo>
                      <a:pt x="51" y="57"/>
                    </a:lnTo>
                    <a:lnTo>
                      <a:pt x="46" y="65"/>
                    </a:lnTo>
                    <a:lnTo>
                      <a:pt x="48" y="63"/>
                    </a:lnTo>
                    <a:lnTo>
                      <a:pt x="39" y="70"/>
                    </a:lnTo>
                    <a:lnTo>
                      <a:pt x="39" y="68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15" y="84"/>
                    </a:lnTo>
                    <a:lnTo>
                      <a:pt x="16" y="84"/>
                    </a:lnTo>
                    <a:lnTo>
                      <a:pt x="5" y="88"/>
                    </a:lnTo>
                    <a:lnTo>
                      <a:pt x="3" y="88"/>
                    </a:lnTo>
                    <a:lnTo>
                      <a:pt x="0" y="91"/>
                    </a:lnTo>
                    <a:lnTo>
                      <a:pt x="0" y="97"/>
                    </a:lnTo>
                    <a:lnTo>
                      <a:pt x="1" y="99"/>
                    </a:lnTo>
                    <a:lnTo>
                      <a:pt x="3" y="99"/>
                    </a:lnTo>
                    <a:lnTo>
                      <a:pt x="5" y="101"/>
                    </a:lnTo>
                    <a:lnTo>
                      <a:pt x="6" y="101"/>
                    </a:lnTo>
                    <a:lnTo>
                      <a:pt x="8" y="99"/>
                    </a:lnTo>
                    <a:lnTo>
                      <a:pt x="20" y="96"/>
                    </a:lnTo>
                    <a:lnTo>
                      <a:pt x="21" y="96"/>
                    </a:lnTo>
                    <a:lnTo>
                      <a:pt x="36" y="88"/>
                    </a:lnTo>
                    <a:lnTo>
                      <a:pt x="48" y="80"/>
                    </a:lnTo>
                    <a:lnTo>
                      <a:pt x="56" y="73"/>
                    </a:lnTo>
                    <a:lnTo>
                      <a:pt x="58" y="71"/>
                    </a:lnTo>
                    <a:lnTo>
                      <a:pt x="63" y="63"/>
                    </a:lnTo>
                    <a:lnTo>
                      <a:pt x="78" y="44"/>
                    </a:lnTo>
                    <a:lnTo>
                      <a:pt x="78" y="42"/>
                    </a:lnTo>
                    <a:lnTo>
                      <a:pt x="86" y="24"/>
                    </a:lnTo>
                    <a:lnTo>
                      <a:pt x="91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31">
                <a:extLst>
                  <a:ext uri="{FF2B5EF4-FFF2-40B4-BE49-F238E27FC236}">
                    <a16:creationId xmlns:a16="http://schemas.microsoft.com/office/drawing/2014/main" id="{73C42153-6B29-49C5-B271-5F3289B66A8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9" y="3478"/>
                <a:ext cx="85" cy="99"/>
              </a:xfrm>
              <a:custGeom>
                <a:avLst/>
                <a:gdLst/>
                <a:ahLst/>
                <a:cxnLst>
                  <a:cxn ang="0">
                    <a:pos x="68" y="8"/>
                  </a:cxn>
                  <a:cxn ang="0">
                    <a:pos x="70" y="6"/>
                  </a:cxn>
                  <a:cxn ang="0">
                    <a:pos x="70" y="4"/>
                  </a:cxn>
                  <a:cxn ang="0">
                    <a:pos x="68" y="3"/>
                  </a:cxn>
                  <a:cxn ang="0">
                    <a:pos x="68" y="1"/>
                  </a:cxn>
                  <a:cxn ang="0">
                    <a:pos x="66" y="0"/>
                  </a:cxn>
                  <a:cxn ang="0">
                    <a:pos x="60" y="0"/>
                  </a:cxn>
                  <a:cxn ang="0">
                    <a:pos x="58" y="1"/>
                  </a:cxn>
                  <a:cxn ang="0">
                    <a:pos x="56" y="1"/>
                  </a:cxn>
                  <a:cxn ang="0">
                    <a:pos x="56" y="3"/>
                  </a:cxn>
                  <a:cxn ang="0">
                    <a:pos x="53" y="13"/>
                  </a:cxn>
                  <a:cxn ang="0">
                    <a:pos x="48" y="24"/>
                  </a:cxn>
                  <a:cxn ang="0">
                    <a:pos x="48" y="22"/>
                  </a:cxn>
                  <a:cxn ang="0">
                    <a:pos x="36" y="37"/>
                  </a:cxn>
                  <a:cxn ang="0">
                    <a:pos x="28" y="49"/>
                  </a:cxn>
                  <a:cxn ang="0">
                    <a:pos x="30" y="49"/>
                  </a:cxn>
                  <a:cxn ang="0">
                    <a:pos x="10" y="68"/>
                  </a:cxn>
                  <a:cxn ang="0">
                    <a:pos x="13" y="66"/>
                  </a:cxn>
                  <a:cxn ang="0">
                    <a:pos x="5" y="68"/>
                  </a:cxn>
                  <a:cxn ang="0">
                    <a:pos x="3" y="68"/>
                  </a:cxn>
                  <a:cxn ang="0">
                    <a:pos x="2" y="70"/>
                  </a:cxn>
                  <a:cxn ang="0">
                    <a:pos x="0" y="70"/>
                  </a:cxn>
                  <a:cxn ang="0">
                    <a:pos x="0" y="76"/>
                  </a:cxn>
                  <a:cxn ang="0">
                    <a:pos x="2" y="78"/>
                  </a:cxn>
                  <a:cxn ang="0">
                    <a:pos x="2" y="80"/>
                  </a:cxn>
                  <a:cxn ang="0">
                    <a:pos x="3" y="80"/>
                  </a:cxn>
                  <a:cxn ang="0">
                    <a:pos x="5" y="81"/>
                  </a:cxn>
                  <a:cxn ang="0">
                    <a:pos x="7" y="81"/>
                  </a:cxn>
                  <a:cxn ang="0">
                    <a:pos x="15" y="80"/>
                  </a:cxn>
                  <a:cxn ang="0">
                    <a:pos x="17" y="78"/>
                  </a:cxn>
                  <a:cxn ang="0">
                    <a:pos x="18" y="78"/>
                  </a:cxn>
                  <a:cxn ang="0">
                    <a:pos x="18" y="76"/>
                  </a:cxn>
                  <a:cxn ang="0">
                    <a:pos x="38" y="57"/>
                  </a:cxn>
                  <a:cxn ang="0">
                    <a:pos x="40" y="57"/>
                  </a:cxn>
                  <a:cxn ang="0">
                    <a:pos x="48" y="45"/>
                  </a:cxn>
                  <a:cxn ang="0">
                    <a:pos x="60" y="31"/>
                  </a:cxn>
                  <a:cxn ang="0">
                    <a:pos x="60" y="29"/>
                  </a:cxn>
                  <a:cxn ang="0">
                    <a:pos x="65" y="18"/>
                  </a:cxn>
                  <a:cxn ang="0">
                    <a:pos x="68" y="8"/>
                  </a:cxn>
                </a:cxnLst>
                <a:rect l="0" t="0" r="r" b="b"/>
                <a:pathLst>
                  <a:path w="70" h="81">
                    <a:moveTo>
                      <a:pt x="68" y="8"/>
                    </a:moveTo>
                    <a:lnTo>
                      <a:pt x="70" y="6"/>
                    </a:lnTo>
                    <a:lnTo>
                      <a:pt x="70" y="4"/>
                    </a:lnTo>
                    <a:lnTo>
                      <a:pt x="68" y="3"/>
                    </a:lnTo>
                    <a:lnTo>
                      <a:pt x="68" y="1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58" y="1"/>
                    </a:lnTo>
                    <a:lnTo>
                      <a:pt x="56" y="1"/>
                    </a:lnTo>
                    <a:lnTo>
                      <a:pt x="56" y="3"/>
                    </a:lnTo>
                    <a:lnTo>
                      <a:pt x="53" y="13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36" y="37"/>
                    </a:lnTo>
                    <a:lnTo>
                      <a:pt x="28" y="49"/>
                    </a:lnTo>
                    <a:lnTo>
                      <a:pt x="30" y="49"/>
                    </a:lnTo>
                    <a:lnTo>
                      <a:pt x="10" y="68"/>
                    </a:lnTo>
                    <a:lnTo>
                      <a:pt x="13" y="66"/>
                    </a:lnTo>
                    <a:lnTo>
                      <a:pt x="5" y="68"/>
                    </a:lnTo>
                    <a:lnTo>
                      <a:pt x="3" y="68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0" y="76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3" y="80"/>
                    </a:lnTo>
                    <a:lnTo>
                      <a:pt x="5" y="81"/>
                    </a:lnTo>
                    <a:lnTo>
                      <a:pt x="7" y="81"/>
                    </a:lnTo>
                    <a:lnTo>
                      <a:pt x="15" y="80"/>
                    </a:lnTo>
                    <a:lnTo>
                      <a:pt x="17" y="78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38" y="57"/>
                    </a:lnTo>
                    <a:lnTo>
                      <a:pt x="40" y="57"/>
                    </a:lnTo>
                    <a:lnTo>
                      <a:pt x="48" y="45"/>
                    </a:lnTo>
                    <a:lnTo>
                      <a:pt x="60" y="31"/>
                    </a:lnTo>
                    <a:lnTo>
                      <a:pt x="60" y="29"/>
                    </a:lnTo>
                    <a:lnTo>
                      <a:pt x="65" y="18"/>
                    </a:lnTo>
                    <a:lnTo>
                      <a:pt x="68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32">
                <a:extLst>
                  <a:ext uri="{FF2B5EF4-FFF2-40B4-BE49-F238E27FC236}">
                    <a16:creationId xmlns:a16="http://schemas.microsoft.com/office/drawing/2014/main" id="{AB449D56-9055-4006-A157-2B83FE7C87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55" y="3472"/>
                <a:ext cx="76" cy="97"/>
              </a:xfrm>
              <a:custGeom>
                <a:avLst/>
                <a:gdLst/>
                <a:ahLst/>
                <a:cxnLst>
                  <a:cxn ang="0">
                    <a:pos x="62" y="8"/>
                  </a:cxn>
                  <a:cxn ang="0">
                    <a:pos x="63" y="7"/>
                  </a:cxn>
                  <a:cxn ang="0">
                    <a:pos x="63" y="5"/>
                  </a:cxn>
                  <a:cxn ang="0">
                    <a:pos x="62" y="3"/>
                  </a:cxn>
                  <a:cxn ang="0">
                    <a:pos x="62" y="2"/>
                  </a:cxn>
                  <a:cxn ang="0">
                    <a:pos x="60" y="0"/>
                  </a:cxn>
                  <a:cxn ang="0">
                    <a:pos x="53" y="0"/>
                  </a:cxn>
                  <a:cxn ang="0">
                    <a:pos x="52" y="2"/>
                  </a:cxn>
                  <a:cxn ang="0">
                    <a:pos x="50" y="2"/>
                  </a:cxn>
                  <a:cxn ang="0">
                    <a:pos x="50" y="3"/>
                  </a:cxn>
                  <a:cxn ang="0">
                    <a:pos x="47" y="13"/>
                  </a:cxn>
                  <a:cxn ang="0">
                    <a:pos x="40" y="26"/>
                  </a:cxn>
                  <a:cxn ang="0">
                    <a:pos x="40" y="25"/>
                  </a:cxn>
                  <a:cxn ang="0">
                    <a:pos x="30" y="39"/>
                  </a:cxn>
                  <a:cxn ang="0">
                    <a:pos x="32" y="39"/>
                  </a:cxn>
                  <a:cxn ang="0">
                    <a:pos x="22" y="51"/>
                  </a:cxn>
                  <a:cxn ang="0">
                    <a:pos x="14" y="57"/>
                  </a:cxn>
                  <a:cxn ang="0">
                    <a:pos x="0" y="70"/>
                  </a:cxn>
                  <a:cxn ang="0">
                    <a:pos x="0" y="77"/>
                  </a:cxn>
                  <a:cxn ang="0">
                    <a:pos x="2" y="77"/>
                  </a:cxn>
                  <a:cxn ang="0">
                    <a:pos x="4" y="79"/>
                  </a:cxn>
                  <a:cxn ang="0">
                    <a:pos x="5" y="79"/>
                  </a:cxn>
                  <a:cxn ang="0">
                    <a:pos x="7" y="80"/>
                  </a:cxn>
                  <a:cxn ang="0">
                    <a:pos x="9" y="79"/>
                  </a:cxn>
                  <a:cxn ang="0">
                    <a:pos x="10" y="79"/>
                  </a:cxn>
                  <a:cxn ang="0">
                    <a:pos x="10" y="77"/>
                  </a:cxn>
                  <a:cxn ang="0">
                    <a:pos x="22" y="65"/>
                  </a:cxn>
                  <a:cxn ang="0">
                    <a:pos x="22" y="67"/>
                  </a:cxn>
                  <a:cxn ang="0">
                    <a:pos x="30" y="61"/>
                  </a:cxn>
                  <a:cxn ang="0">
                    <a:pos x="32" y="59"/>
                  </a:cxn>
                  <a:cxn ang="0">
                    <a:pos x="42" y="48"/>
                  </a:cxn>
                  <a:cxn ang="0">
                    <a:pos x="52" y="33"/>
                  </a:cxn>
                  <a:cxn ang="0">
                    <a:pos x="52" y="31"/>
                  </a:cxn>
                  <a:cxn ang="0">
                    <a:pos x="58" y="18"/>
                  </a:cxn>
                  <a:cxn ang="0">
                    <a:pos x="62" y="8"/>
                  </a:cxn>
                </a:cxnLst>
                <a:rect l="0" t="0" r="r" b="b"/>
                <a:pathLst>
                  <a:path w="63" h="80">
                    <a:moveTo>
                      <a:pt x="62" y="8"/>
                    </a:moveTo>
                    <a:lnTo>
                      <a:pt x="63" y="7"/>
                    </a:lnTo>
                    <a:lnTo>
                      <a:pt x="63" y="5"/>
                    </a:lnTo>
                    <a:lnTo>
                      <a:pt x="62" y="3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3"/>
                    </a:lnTo>
                    <a:lnTo>
                      <a:pt x="47" y="13"/>
                    </a:lnTo>
                    <a:lnTo>
                      <a:pt x="40" y="26"/>
                    </a:lnTo>
                    <a:lnTo>
                      <a:pt x="40" y="25"/>
                    </a:lnTo>
                    <a:lnTo>
                      <a:pt x="30" y="39"/>
                    </a:lnTo>
                    <a:lnTo>
                      <a:pt x="32" y="39"/>
                    </a:lnTo>
                    <a:lnTo>
                      <a:pt x="22" y="51"/>
                    </a:lnTo>
                    <a:lnTo>
                      <a:pt x="14" y="57"/>
                    </a:lnTo>
                    <a:lnTo>
                      <a:pt x="0" y="70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4" y="79"/>
                    </a:lnTo>
                    <a:lnTo>
                      <a:pt x="5" y="79"/>
                    </a:lnTo>
                    <a:lnTo>
                      <a:pt x="7" y="80"/>
                    </a:lnTo>
                    <a:lnTo>
                      <a:pt x="9" y="79"/>
                    </a:lnTo>
                    <a:lnTo>
                      <a:pt x="10" y="79"/>
                    </a:lnTo>
                    <a:lnTo>
                      <a:pt x="10" y="77"/>
                    </a:lnTo>
                    <a:lnTo>
                      <a:pt x="22" y="65"/>
                    </a:lnTo>
                    <a:lnTo>
                      <a:pt x="22" y="67"/>
                    </a:lnTo>
                    <a:lnTo>
                      <a:pt x="30" y="61"/>
                    </a:lnTo>
                    <a:lnTo>
                      <a:pt x="32" y="59"/>
                    </a:lnTo>
                    <a:lnTo>
                      <a:pt x="42" y="48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8" y="18"/>
                    </a:lnTo>
                    <a:lnTo>
                      <a:pt x="62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33">
                <a:extLst>
                  <a:ext uri="{FF2B5EF4-FFF2-40B4-BE49-F238E27FC236}">
                    <a16:creationId xmlns:a16="http://schemas.microsoft.com/office/drawing/2014/main" id="{8947970A-7B90-4F84-9205-E4B41654B2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38" y="3504"/>
                <a:ext cx="58" cy="44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2" y="22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20" y="29"/>
                  </a:cxn>
                  <a:cxn ang="0">
                    <a:pos x="21" y="29"/>
                  </a:cxn>
                  <a:cxn ang="0">
                    <a:pos x="28" y="24"/>
                  </a:cxn>
                  <a:cxn ang="0">
                    <a:pos x="45" y="11"/>
                  </a:cxn>
                  <a:cxn ang="0">
                    <a:pos x="46" y="9"/>
                  </a:cxn>
                  <a:cxn ang="0">
                    <a:pos x="46" y="8"/>
                  </a:cxn>
                  <a:cxn ang="0">
                    <a:pos x="48" y="6"/>
                  </a:cxn>
                  <a:cxn ang="0">
                    <a:pos x="48" y="5"/>
                  </a:cxn>
                  <a:cxn ang="0">
                    <a:pos x="46" y="3"/>
                  </a:cxn>
                  <a:cxn ang="0">
                    <a:pos x="46" y="1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6" y="1"/>
                  </a:cxn>
                  <a:cxn ang="0">
                    <a:pos x="20" y="14"/>
                  </a:cxn>
                  <a:cxn ang="0">
                    <a:pos x="20" y="13"/>
                  </a:cxn>
                  <a:cxn ang="0">
                    <a:pos x="13" y="18"/>
                  </a:cxn>
                  <a:cxn ang="0">
                    <a:pos x="15" y="18"/>
                  </a:cxn>
                  <a:cxn ang="0">
                    <a:pos x="3" y="22"/>
                  </a:cxn>
                </a:cxnLst>
                <a:rect l="0" t="0" r="r" b="b"/>
                <a:pathLst>
                  <a:path w="48" h="36">
                    <a:moveTo>
                      <a:pt x="3" y="22"/>
                    </a:moveTo>
                    <a:lnTo>
                      <a:pt x="2" y="22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20" y="29"/>
                    </a:lnTo>
                    <a:lnTo>
                      <a:pt x="21" y="29"/>
                    </a:lnTo>
                    <a:lnTo>
                      <a:pt x="28" y="24"/>
                    </a:lnTo>
                    <a:lnTo>
                      <a:pt x="45" y="11"/>
                    </a:lnTo>
                    <a:lnTo>
                      <a:pt x="46" y="9"/>
                    </a:lnTo>
                    <a:lnTo>
                      <a:pt x="46" y="8"/>
                    </a:lnTo>
                    <a:lnTo>
                      <a:pt x="48" y="6"/>
                    </a:lnTo>
                    <a:lnTo>
                      <a:pt x="48" y="5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5" y="0"/>
                    </a:lnTo>
                    <a:lnTo>
                      <a:pt x="38" y="0"/>
                    </a:lnTo>
                    <a:lnTo>
                      <a:pt x="36" y="1"/>
                    </a:lnTo>
                    <a:lnTo>
                      <a:pt x="20" y="14"/>
                    </a:lnTo>
                    <a:lnTo>
                      <a:pt x="20" y="13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3" y="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34">
                <a:extLst>
                  <a:ext uri="{FF2B5EF4-FFF2-40B4-BE49-F238E27FC236}">
                    <a16:creationId xmlns:a16="http://schemas.microsoft.com/office/drawing/2014/main" id="{F2D3EA8E-66BF-4F82-BBD3-41532B1A18C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24" y="3472"/>
                <a:ext cx="33" cy="35"/>
              </a:xfrm>
              <a:custGeom>
                <a:avLst/>
                <a:gdLst/>
                <a:ahLst/>
                <a:cxnLst>
                  <a:cxn ang="0">
                    <a:pos x="25" y="10"/>
                  </a:cxn>
                  <a:cxn ang="0">
                    <a:pos x="25" y="8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3"/>
                  </a:cxn>
                  <a:cxn ang="0">
                    <a:pos x="25" y="2"/>
                  </a:cxn>
                  <a:cxn ang="0">
                    <a:pos x="23" y="2"/>
                  </a:cxn>
                  <a:cxn ang="0">
                    <a:pos x="22" y="0"/>
                  </a:cxn>
                  <a:cxn ang="0">
                    <a:pos x="15" y="0"/>
                  </a:cxn>
                  <a:cxn ang="0">
                    <a:pos x="15" y="2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3" y="28"/>
                  </a:cxn>
                  <a:cxn ang="0">
                    <a:pos x="5" y="29"/>
                  </a:cxn>
                  <a:cxn ang="0">
                    <a:pos x="7" y="29"/>
                  </a:cxn>
                  <a:cxn ang="0">
                    <a:pos x="8" y="28"/>
                  </a:cxn>
                  <a:cxn ang="0">
                    <a:pos x="10" y="28"/>
                  </a:cxn>
                  <a:cxn ang="0">
                    <a:pos x="12" y="26"/>
                  </a:cxn>
                  <a:cxn ang="0">
                    <a:pos x="25" y="10"/>
                  </a:cxn>
                </a:cxnLst>
                <a:rect l="0" t="0" r="r" b="b"/>
                <a:pathLst>
                  <a:path w="27" h="29">
                    <a:moveTo>
                      <a:pt x="25" y="10"/>
                    </a:moveTo>
                    <a:lnTo>
                      <a:pt x="25" y="8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3" y="2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3" y="28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2" y="26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35">
                <a:extLst>
                  <a:ext uri="{FF2B5EF4-FFF2-40B4-BE49-F238E27FC236}">
                    <a16:creationId xmlns:a16="http://schemas.microsoft.com/office/drawing/2014/main" id="{DC1EBBB7-7D06-4860-96D6-E5D43DCBD41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93" y="3307"/>
                <a:ext cx="16" cy="23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2" y="14"/>
                  </a:cxn>
                  <a:cxn ang="0">
                    <a:pos x="13" y="13"/>
                  </a:cxn>
                  <a:cxn ang="0">
                    <a:pos x="13" y="6"/>
                  </a:cxn>
                </a:cxnLst>
                <a:rect l="0" t="0" r="r" b="b"/>
                <a:pathLst>
                  <a:path w="13" h="19">
                    <a:moveTo>
                      <a:pt x="13" y="6"/>
                    </a:moveTo>
                    <a:lnTo>
                      <a:pt x="12" y="4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36">
                <a:extLst>
                  <a:ext uri="{FF2B5EF4-FFF2-40B4-BE49-F238E27FC236}">
                    <a16:creationId xmlns:a16="http://schemas.microsoft.com/office/drawing/2014/main" id="{971F2B0F-8EE8-4255-9B97-552EF9A8714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63" y="2991"/>
                <a:ext cx="85" cy="24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5"/>
                  </a:cxn>
                  <a:cxn ang="0">
                    <a:pos x="2" y="17"/>
                  </a:cxn>
                  <a:cxn ang="0">
                    <a:pos x="2" y="18"/>
                  </a:cxn>
                  <a:cxn ang="0">
                    <a:pos x="3" y="18"/>
                  </a:cxn>
                  <a:cxn ang="0">
                    <a:pos x="5" y="20"/>
                  </a:cxn>
                  <a:cxn ang="0">
                    <a:pos x="7" y="20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2" y="17"/>
                  </a:cxn>
                  <a:cxn ang="0">
                    <a:pos x="15" y="12"/>
                  </a:cxn>
                  <a:cxn ang="0">
                    <a:pos x="12" y="13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58" y="13"/>
                  </a:cxn>
                  <a:cxn ang="0">
                    <a:pos x="55" y="12"/>
                  </a:cxn>
                  <a:cxn ang="0">
                    <a:pos x="60" y="13"/>
                  </a:cxn>
                  <a:cxn ang="0">
                    <a:pos x="57" y="8"/>
                  </a:cxn>
                  <a:cxn ang="0">
                    <a:pos x="57" y="13"/>
                  </a:cxn>
                  <a:cxn ang="0">
                    <a:pos x="58" y="13"/>
                  </a:cxn>
                  <a:cxn ang="0">
                    <a:pos x="60" y="15"/>
                  </a:cxn>
                  <a:cxn ang="0">
                    <a:pos x="62" y="15"/>
                  </a:cxn>
                  <a:cxn ang="0">
                    <a:pos x="63" y="17"/>
                  </a:cxn>
                  <a:cxn ang="0">
                    <a:pos x="65" y="15"/>
                  </a:cxn>
                  <a:cxn ang="0">
                    <a:pos x="67" y="15"/>
                  </a:cxn>
                  <a:cxn ang="0">
                    <a:pos x="67" y="13"/>
                  </a:cxn>
                  <a:cxn ang="0">
                    <a:pos x="68" y="13"/>
                  </a:cxn>
                  <a:cxn ang="0">
                    <a:pos x="68" y="12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0" y="7"/>
                  </a:cxn>
                  <a:cxn ang="0">
                    <a:pos x="68" y="5"/>
                  </a:cxn>
                  <a:cxn ang="0">
                    <a:pos x="68" y="4"/>
                  </a:cxn>
                  <a:cxn ang="0">
                    <a:pos x="67" y="2"/>
                  </a:cxn>
                  <a:cxn ang="0">
                    <a:pos x="65" y="2"/>
                  </a:cxn>
                  <a:cxn ang="0">
                    <a:pos x="60" y="0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0" y="8"/>
                  </a:cxn>
                </a:cxnLst>
                <a:rect l="0" t="0" r="r" b="b"/>
                <a:pathLst>
                  <a:path w="70" h="20">
                    <a:moveTo>
                      <a:pt x="0" y="8"/>
                    </a:moveTo>
                    <a:lnTo>
                      <a:pt x="0" y="15"/>
                    </a:lnTo>
                    <a:lnTo>
                      <a:pt x="2" y="17"/>
                    </a:lnTo>
                    <a:lnTo>
                      <a:pt x="2" y="18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7" y="20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2" y="17"/>
                    </a:lnTo>
                    <a:lnTo>
                      <a:pt x="15" y="12"/>
                    </a:lnTo>
                    <a:lnTo>
                      <a:pt x="12" y="13"/>
                    </a:lnTo>
                    <a:lnTo>
                      <a:pt x="15" y="12"/>
                    </a:lnTo>
                    <a:lnTo>
                      <a:pt x="13" y="13"/>
                    </a:lnTo>
                    <a:lnTo>
                      <a:pt x="58" y="13"/>
                    </a:lnTo>
                    <a:lnTo>
                      <a:pt x="55" y="12"/>
                    </a:lnTo>
                    <a:lnTo>
                      <a:pt x="60" y="13"/>
                    </a:lnTo>
                    <a:lnTo>
                      <a:pt x="57" y="8"/>
                    </a:lnTo>
                    <a:lnTo>
                      <a:pt x="57" y="13"/>
                    </a:lnTo>
                    <a:lnTo>
                      <a:pt x="58" y="13"/>
                    </a:lnTo>
                    <a:lnTo>
                      <a:pt x="60" y="15"/>
                    </a:lnTo>
                    <a:lnTo>
                      <a:pt x="62" y="15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0" y="7"/>
                    </a:lnTo>
                    <a:lnTo>
                      <a:pt x="68" y="5"/>
                    </a:lnTo>
                    <a:lnTo>
                      <a:pt x="68" y="4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0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37">
                <a:extLst>
                  <a:ext uri="{FF2B5EF4-FFF2-40B4-BE49-F238E27FC236}">
                    <a16:creationId xmlns:a16="http://schemas.microsoft.com/office/drawing/2014/main" id="{31385C90-42E4-4DCD-A3EF-F9003E7FB5A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1" y="3004"/>
                <a:ext cx="86" cy="28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5"/>
                  </a:cxn>
                  <a:cxn ang="0">
                    <a:pos x="11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15"/>
                  </a:cxn>
                  <a:cxn ang="0">
                    <a:pos x="1" y="15"/>
                  </a:cxn>
                  <a:cxn ang="0">
                    <a:pos x="6" y="20"/>
                  </a:cxn>
                  <a:cxn ang="0">
                    <a:pos x="11" y="22"/>
                  </a:cxn>
                  <a:cxn ang="0">
                    <a:pos x="13" y="23"/>
                  </a:cxn>
                  <a:cxn ang="0">
                    <a:pos x="58" y="23"/>
                  </a:cxn>
                  <a:cxn ang="0">
                    <a:pos x="65" y="22"/>
                  </a:cxn>
                  <a:cxn ang="0">
                    <a:pos x="68" y="18"/>
                  </a:cxn>
                  <a:cxn ang="0">
                    <a:pos x="68" y="17"/>
                  </a:cxn>
                  <a:cxn ang="0">
                    <a:pos x="70" y="12"/>
                  </a:cxn>
                  <a:cxn ang="0">
                    <a:pos x="71" y="10"/>
                  </a:cxn>
                  <a:cxn ang="0">
                    <a:pos x="71" y="7"/>
                  </a:cxn>
                  <a:cxn ang="0">
                    <a:pos x="70" y="5"/>
                  </a:cxn>
                  <a:cxn ang="0">
                    <a:pos x="70" y="4"/>
                  </a:cxn>
                  <a:cxn ang="0">
                    <a:pos x="68" y="2"/>
                  </a:cxn>
                  <a:cxn ang="0">
                    <a:pos x="68" y="0"/>
                  </a:cxn>
                  <a:cxn ang="0">
                    <a:pos x="61" y="0"/>
                  </a:cxn>
                  <a:cxn ang="0">
                    <a:pos x="58" y="4"/>
                  </a:cxn>
                  <a:cxn ang="0">
                    <a:pos x="58" y="7"/>
                  </a:cxn>
                  <a:cxn ang="0">
                    <a:pos x="58" y="10"/>
                  </a:cxn>
                  <a:cxn ang="0">
                    <a:pos x="58" y="7"/>
                  </a:cxn>
                  <a:cxn ang="0">
                    <a:pos x="56" y="12"/>
                  </a:cxn>
                  <a:cxn ang="0">
                    <a:pos x="61" y="8"/>
                  </a:cxn>
                  <a:cxn ang="0">
                    <a:pos x="55" y="10"/>
                  </a:cxn>
                  <a:cxn ang="0">
                    <a:pos x="56" y="10"/>
                  </a:cxn>
                  <a:cxn ang="0">
                    <a:pos x="15" y="10"/>
                  </a:cxn>
                  <a:cxn ang="0">
                    <a:pos x="16" y="10"/>
                  </a:cxn>
                  <a:cxn ang="0">
                    <a:pos x="11" y="8"/>
                  </a:cxn>
                  <a:cxn ang="0">
                    <a:pos x="13" y="10"/>
                  </a:cxn>
                  <a:cxn ang="0">
                    <a:pos x="10" y="7"/>
                  </a:cxn>
                  <a:cxn ang="0">
                    <a:pos x="13" y="12"/>
                  </a:cxn>
                  <a:cxn ang="0">
                    <a:pos x="13" y="7"/>
                  </a:cxn>
                </a:cxnLst>
                <a:rect l="0" t="0" r="r" b="b"/>
                <a:pathLst>
                  <a:path w="71" h="23">
                    <a:moveTo>
                      <a:pt x="13" y="7"/>
                    </a:moveTo>
                    <a:lnTo>
                      <a:pt x="11" y="5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15"/>
                    </a:lnTo>
                    <a:lnTo>
                      <a:pt x="1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3" y="23"/>
                    </a:lnTo>
                    <a:lnTo>
                      <a:pt x="58" y="23"/>
                    </a:lnTo>
                    <a:lnTo>
                      <a:pt x="65" y="22"/>
                    </a:lnTo>
                    <a:lnTo>
                      <a:pt x="68" y="18"/>
                    </a:lnTo>
                    <a:lnTo>
                      <a:pt x="68" y="17"/>
                    </a:lnTo>
                    <a:lnTo>
                      <a:pt x="70" y="12"/>
                    </a:lnTo>
                    <a:lnTo>
                      <a:pt x="71" y="10"/>
                    </a:lnTo>
                    <a:lnTo>
                      <a:pt x="71" y="7"/>
                    </a:lnTo>
                    <a:lnTo>
                      <a:pt x="70" y="5"/>
                    </a:lnTo>
                    <a:lnTo>
                      <a:pt x="70" y="4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8" y="7"/>
                    </a:lnTo>
                    <a:lnTo>
                      <a:pt x="58" y="10"/>
                    </a:lnTo>
                    <a:lnTo>
                      <a:pt x="58" y="7"/>
                    </a:lnTo>
                    <a:lnTo>
                      <a:pt x="56" y="12"/>
                    </a:lnTo>
                    <a:lnTo>
                      <a:pt x="61" y="8"/>
                    </a:lnTo>
                    <a:lnTo>
                      <a:pt x="55" y="10"/>
                    </a:lnTo>
                    <a:lnTo>
                      <a:pt x="56" y="10"/>
                    </a:lnTo>
                    <a:lnTo>
                      <a:pt x="15" y="10"/>
                    </a:lnTo>
                    <a:lnTo>
                      <a:pt x="16" y="10"/>
                    </a:lnTo>
                    <a:lnTo>
                      <a:pt x="11" y="8"/>
                    </a:lnTo>
                    <a:lnTo>
                      <a:pt x="13" y="10"/>
                    </a:lnTo>
                    <a:lnTo>
                      <a:pt x="10" y="7"/>
                    </a:lnTo>
                    <a:lnTo>
                      <a:pt x="13" y="12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38">
                <a:extLst>
                  <a:ext uri="{FF2B5EF4-FFF2-40B4-BE49-F238E27FC236}">
                    <a16:creationId xmlns:a16="http://schemas.microsoft.com/office/drawing/2014/main" id="{AB36E79F-E796-4E04-8DD8-83696AFAF89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11" y="2478"/>
                <a:ext cx="1191" cy="175"/>
              </a:xfrm>
              <a:custGeom>
                <a:avLst/>
                <a:gdLst/>
                <a:ahLst/>
                <a:cxnLst>
                  <a:cxn ang="0">
                    <a:pos x="3" y="35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3" y="47"/>
                  </a:cxn>
                  <a:cxn ang="0">
                    <a:pos x="66" y="70"/>
                  </a:cxn>
                  <a:cxn ang="0">
                    <a:pos x="136" y="89"/>
                  </a:cxn>
                  <a:cxn ang="0">
                    <a:pos x="261" y="115"/>
                  </a:cxn>
                  <a:cxn ang="0">
                    <a:pos x="378" y="132"/>
                  </a:cxn>
                  <a:cxn ang="0">
                    <a:pos x="545" y="138"/>
                  </a:cxn>
                  <a:cxn ang="0">
                    <a:pos x="676" y="143"/>
                  </a:cxn>
                  <a:cxn ang="0">
                    <a:pos x="867" y="138"/>
                  </a:cxn>
                  <a:cxn ang="0">
                    <a:pos x="920" y="130"/>
                  </a:cxn>
                  <a:cxn ang="0">
                    <a:pos x="950" y="122"/>
                  </a:cxn>
                  <a:cxn ang="0">
                    <a:pos x="970" y="107"/>
                  </a:cxn>
                  <a:cxn ang="0">
                    <a:pos x="978" y="89"/>
                  </a:cxn>
                  <a:cxn ang="0">
                    <a:pos x="980" y="58"/>
                  </a:cxn>
                  <a:cxn ang="0">
                    <a:pos x="976" y="27"/>
                  </a:cxn>
                  <a:cxn ang="0">
                    <a:pos x="971" y="14"/>
                  </a:cxn>
                  <a:cxn ang="0">
                    <a:pos x="963" y="4"/>
                  </a:cxn>
                  <a:cxn ang="0">
                    <a:pos x="948" y="0"/>
                  </a:cxn>
                  <a:cxn ang="0">
                    <a:pos x="945" y="9"/>
                  </a:cxn>
                  <a:cxn ang="0">
                    <a:pos x="948" y="11"/>
                  </a:cxn>
                  <a:cxn ang="0">
                    <a:pos x="955" y="14"/>
                  </a:cxn>
                  <a:cxn ang="0">
                    <a:pos x="960" y="21"/>
                  </a:cxn>
                  <a:cxn ang="0">
                    <a:pos x="965" y="31"/>
                  </a:cxn>
                  <a:cxn ang="0">
                    <a:pos x="966" y="88"/>
                  </a:cxn>
                  <a:cxn ang="0">
                    <a:pos x="958" y="101"/>
                  </a:cxn>
                  <a:cxn ang="0">
                    <a:pos x="941" y="110"/>
                  </a:cxn>
                  <a:cxn ang="0">
                    <a:pos x="915" y="119"/>
                  </a:cxn>
                  <a:cxn ang="0">
                    <a:pos x="865" y="125"/>
                  </a:cxn>
                  <a:cxn ang="0">
                    <a:pos x="784" y="128"/>
                  </a:cxn>
                  <a:cxn ang="0">
                    <a:pos x="546" y="125"/>
                  </a:cxn>
                  <a:cxn ang="0">
                    <a:pos x="380" y="119"/>
                  </a:cxn>
                  <a:cxn ang="0">
                    <a:pos x="262" y="102"/>
                  </a:cxn>
                  <a:cxn ang="0">
                    <a:pos x="207" y="93"/>
                  </a:cxn>
                  <a:cxn ang="0">
                    <a:pos x="70" y="58"/>
                  </a:cxn>
                </a:cxnLst>
                <a:rect l="0" t="0" r="r" b="b"/>
                <a:pathLst>
                  <a:path w="980" h="143">
                    <a:moveTo>
                      <a:pt x="8" y="35"/>
                    </a:moveTo>
                    <a:lnTo>
                      <a:pt x="3" y="35"/>
                    </a:lnTo>
                    <a:lnTo>
                      <a:pt x="2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2" y="45"/>
                    </a:lnTo>
                    <a:lnTo>
                      <a:pt x="2" y="47"/>
                    </a:lnTo>
                    <a:lnTo>
                      <a:pt x="3" y="47"/>
                    </a:lnTo>
                    <a:lnTo>
                      <a:pt x="65" y="70"/>
                    </a:lnTo>
                    <a:lnTo>
                      <a:pt x="66" y="70"/>
                    </a:lnTo>
                    <a:lnTo>
                      <a:pt x="136" y="88"/>
                    </a:lnTo>
                    <a:lnTo>
                      <a:pt x="136" y="89"/>
                    </a:lnTo>
                    <a:lnTo>
                      <a:pt x="204" y="106"/>
                    </a:lnTo>
                    <a:lnTo>
                      <a:pt x="261" y="115"/>
                    </a:lnTo>
                    <a:lnTo>
                      <a:pt x="319" y="125"/>
                    </a:lnTo>
                    <a:lnTo>
                      <a:pt x="378" y="132"/>
                    </a:lnTo>
                    <a:lnTo>
                      <a:pt x="447" y="135"/>
                    </a:lnTo>
                    <a:lnTo>
                      <a:pt x="545" y="138"/>
                    </a:lnTo>
                    <a:lnTo>
                      <a:pt x="674" y="143"/>
                    </a:lnTo>
                    <a:lnTo>
                      <a:pt x="676" y="143"/>
                    </a:lnTo>
                    <a:lnTo>
                      <a:pt x="784" y="141"/>
                    </a:lnTo>
                    <a:lnTo>
                      <a:pt x="867" y="138"/>
                    </a:lnTo>
                    <a:lnTo>
                      <a:pt x="918" y="132"/>
                    </a:lnTo>
                    <a:lnTo>
                      <a:pt x="920" y="130"/>
                    </a:lnTo>
                    <a:lnTo>
                      <a:pt x="948" y="122"/>
                    </a:lnTo>
                    <a:lnTo>
                      <a:pt x="950" y="122"/>
                    </a:lnTo>
                    <a:lnTo>
                      <a:pt x="968" y="109"/>
                    </a:lnTo>
                    <a:lnTo>
                      <a:pt x="970" y="107"/>
                    </a:lnTo>
                    <a:lnTo>
                      <a:pt x="970" y="106"/>
                    </a:lnTo>
                    <a:lnTo>
                      <a:pt x="978" y="89"/>
                    </a:lnTo>
                    <a:lnTo>
                      <a:pt x="980" y="88"/>
                    </a:lnTo>
                    <a:lnTo>
                      <a:pt x="980" y="58"/>
                    </a:lnTo>
                    <a:lnTo>
                      <a:pt x="978" y="29"/>
                    </a:lnTo>
                    <a:lnTo>
                      <a:pt x="976" y="27"/>
                    </a:lnTo>
                    <a:lnTo>
                      <a:pt x="971" y="16"/>
                    </a:lnTo>
                    <a:lnTo>
                      <a:pt x="971" y="14"/>
                    </a:lnTo>
                    <a:lnTo>
                      <a:pt x="965" y="6"/>
                    </a:lnTo>
                    <a:lnTo>
                      <a:pt x="963" y="4"/>
                    </a:lnTo>
                    <a:lnTo>
                      <a:pt x="955" y="0"/>
                    </a:lnTo>
                    <a:lnTo>
                      <a:pt x="948" y="0"/>
                    </a:lnTo>
                    <a:lnTo>
                      <a:pt x="945" y="3"/>
                    </a:lnTo>
                    <a:lnTo>
                      <a:pt x="945" y="9"/>
                    </a:lnTo>
                    <a:lnTo>
                      <a:pt x="946" y="9"/>
                    </a:lnTo>
                    <a:lnTo>
                      <a:pt x="948" y="11"/>
                    </a:lnTo>
                    <a:lnTo>
                      <a:pt x="956" y="16"/>
                    </a:lnTo>
                    <a:lnTo>
                      <a:pt x="955" y="14"/>
                    </a:lnTo>
                    <a:lnTo>
                      <a:pt x="961" y="22"/>
                    </a:lnTo>
                    <a:lnTo>
                      <a:pt x="960" y="21"/>
                    </a:lnTo>
                    <a:lnTo>
                      <a:pt x="965" y="32"/>
                    </a:lnTo>
                    <a:lnTo>
                      <a:pt x="965" y="31"/>
                    </a:lnTo>
                    <a:lnTo>
                      <a:pt x="966" y="60"/>
                    </a:lnTo>
                    <a:lnTo>
                      <a:pt x="966" y="88"/>
                    </a:lnTo>
                    <a:lnTo>
                      <a:pt x="966" y="84"/>
                    </a:lnTo>
                    <a:lnTo>
                      <a:pt x="958" y="101"/>
                    </a:lnTo>
                    <a:lnTo>
                      <a:pt x="960" y="97"/>
                    </a:lnTo>
                    <a:lnTo>
                      <a:pt x="941" y="110"/>
                    </a:lnTo>
                    <a:lnTo>
                      <a:pt x="943" y="110"/>
                    </a:lnTo>
                    <a:lnTo>
                      <a:pt x="915" y="119"/>
                    </a:lnTo>
                    <a:lnTo>
                      <a:pt x="916" y="119"/>
                    </a:lnTo>
                    <a:lnTo>
                      <a:pt x="865" y="125"/>
                    </a:lnTo>
                    <a:lnTo>
                      <a:pt x="782" y="128"/>
                    </a:lnTo>
                    <a:lnTo>
                      <a:pt x="784" y="128"/>
                    </a:lnTo>
                    <a:lnTo>
                      <a:pt x="676" y="130"/>
                    </a:lnTo>
                    <a:lnTo>
                      <a:pt x="546" y="125"/>
                    </a:lnTo>
                    <a:lnTo>
                      <a:pt x="448" y="122"/>
                    </a:lnTo>
                    <a:lnTo>
                      <a:pt x="380" y="119"/>
                    </a:lnTo>
                    <a:lnTo>
                      <a:pt x="320" y="112"/>
                    </a:lnTo>
                    <a:lnTo>
                      <a:pt x="262" y="102"/>
                    </a:lnTo>
                    <a:lnTo>
                      <a:pt x="206" y="93"/>
                    </a:lnTo>
                    <a:lnTo>
                      <a:pt x="207" y="93"/>
                    </a:lnTo>
                    <a:lnTo>
                      <a:pt x="139" y="76"/>
                    </a:lnTo>
                    <a:lnTo>
                      <a:pt x="70" y="58"/>
                    </a:lnTo>
                    <a:lnTo>
                      <a:pt x="8" y="3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" name="Freeform 39">
                <a:extLst>
                  <a:ext uri="{FF2B5EF4-FFF2-40B4-BE49-F238E27FC236}">
                    <a16:creationId xmlns:a16="http://schemas.microsoft.com/office/drawing/2014/main" id="{92C5897F-D312-4F7B-93F1-8F646F8CA52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503"/>
                <a:ext cx="80" cy="187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13" y="44"/>
                  </a:cxn>
                  <a:cxn ang="0">
                    <a:pos x="13" y="42"/>
                  </a:cxn>
                  <a:cxn ang="0">
                    <a:pos x="13" y="57"/>
                  </a:cxn>
                  <a:cxn ang="0">
                    <a:pos x="27" y="78"/>
                  </a:cxn>
                  <a:cxn ang="0">
                    <a:pos x="27" y="77"/>
                  </a:cxn>
                  <a:cxn ang="0">
                    <a:pos x="40" y="108"/>
                  </a:cxn>
                  <a:cxn ang="0">
                    <a:pos x="48" y="125"/>
                  </a:cxn>
                  <a:cxn ang="0">
                    <a:pos x="53" y="143"/>
                  </a:cxn>
                  <a:cxn ang="0">
                    <a:pos x="53" y="142"/>
                  </a:cxn>
                  <a:cxn ang="0">
                    <a:pos x="53" y="150"/>
                  </a:cxn>
                  <a:cxn ang="0">
                    <a:pos x="55" y="150"/>
                  </a:cxn>
                  <a:cxn ang="0">
                    <a:pos x="57" y="152"/>
                  </a:cxn>
                  <a:cxn ang="0">
                    <a:pos x="58" y="152"/>
                  </a:cxn>
                  <a:cxn ang="0">
                    <a:pos x="60" y="153"/>
                  </a:cxn>
                  <a:cxn ang="0">
                    <a:pos x="62" y="152"/>
                  </a:cxn>
                  <a:cxn ang="0">
                    <a:pos x="63" y="152"/>
                  </a:cxn>
                  <a:cxn ang="0">
                    <a:pos x="63" y="150"/>
                  </a:cxn>
                  <a:cxn ang="0">
                    <a:pos x="65" y="150"/>
                  </a:cxn>
                  <a:cxn ang="0">
                    <a:pos x="65" y="148"/>
                  </a:cxn>
                  <a:cxn ang="0">
                    <a:pos x="66" y="147"/>
                  </a:cxn>
                  <a:cxn ang="0">
                    <a:pos x="66" y="142"/>
                  </a:cxn>
                  <a:cxn ang="0">
                    <a:pos x="65" y="140"/>
                  </a:cxn>
                  <a:cxn ang="0">
                    <a:pos x="60" y="122"/>
                  </a:cxn>
                  <a:cxn ang="0">
                    <a:pos x="60" y="121"/>
                  </a:cxn>
                  <a:cxn ang="0">
                    <a:pos x="52" y="103"/>
                  </a:cxn>
                  <a:cxn ang="0">
                    <a:pos x="38" y="72"/>
                  </a:cxn>
                  <a:cxn ang="0">
                    <a:pos x="25" y="50"/>
                  </a:cxn>
                  <a:cxn ang="0">
                    <a:pos x="27" y="54"/>
                  </a:cxn>
                  <a:cxn ang="0">
                    <a:pos x="27" y="41"/>
                  </a:cxn>
                  <a:cxn ang="0">
                    <a:pos x="25" y="39"/>
                  </a:cxn>
                  <a:cxn ang="0">
                    <a:pos x="12" y="3"/>
                  </a:cxn>
                </a:cxnLst>
                <a:rect l="0" t="0" r="r" b="b"/>
                <a:pathLst>
                  <a:path w="66" h="153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3" y="57"/>
                    </a:lnTo>
                    <a:lnTo>
                      <a:pt x="27" y="78"/>
                    </a:lnTo>
                    <a:lnTo>
                      <a:pt x="27" y="77"/>
                    </a:lnTo>
                    <a:lnTo>
                      <a:pt x="40" y="108"/>
                    </a:lnTo>
                    <a:lnTo>
                      <a:pt x="48" y="125"/>
                    </a:lnTo>
                    <a:lnTo>
                      <a:pt x="53" y="143"/>
                    </a:lnTo>
                    <a:lnTo>
                      <a:pt x="53" y="142"/>
                    </a:lnTo>
                    <a:lnTo>
                      <a:pt x="53" y="150"/>
                    </a:lnTo>
                    <a:lnTo>
                      <a:pt x="55" y="150"/>
                    </a:lnTo>
                    <a:lnTo>
                      <a:pt x="57" y="152"/>
                    </a:lnTo>
                    <a:lnTo>
                      <a:pt x="58" y="152"/>
                    </a:lnTo>
                    <a:lnTo>
                      <a:pt x="60" y="153"/>
                    </a:lnTo>
                    <a:lnTo>
                      <a:pt x="62" y="152"/>
                    </a:lnTo>
                    <a:lnTo>
                      <a:pt x="63" y="152"/>
                    </a:lnTo>
                    <a:lnTo>
                      <a:pt x="63" y="150"/>
                    </a:lnTo>
                    <a:lnTo>
                      <a:pt x="65" y="150"/>
                    </a:lnTo>
                    <a:lnTo>
                      <a:pt x="65" y="148"/>
                    </a:lnTo>
                    <a:lnTo>
                      <a:pt x="66" y="147"/>
                    </a:lnTo>
                    <a:lnTo>
                      <a:pt x="66" y="142"/>
                    </a:lnTo>
                    <a:lnTo>
                      <a:pt x="65" y="140"/>
                    </a:lnTo>
                    <a:lnTo>
                      <a:pt x="60" y="122"/>
                    </a:lnTo>
                    <a:lnTo>
                      <a:pt x="60" y="121"/>
                    </a:lnTo>
                    <a:lnTo>
                      <a:pt x="52" y="103"/>
                    </a:lnTo>
                    <a:lnTo>
                      <a:pt x="38" y="72"/>
                    </a:lnTo>
                    <a:lnTo>
                      <a:pt x="25" y="50"/>
                    </a:lnTo>
                    <a:lnTo>
                      <a:pt x="27" y="54"/>
                    </a:lnTo>
                    <a:lnTo>
                      <a:pt x="27" y="41"/>
                    </a:lnTo>
                    <a:lnTo>
                      <a:pt x="25" y="39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" name="Freeform 40">
                <a:extLst>
                  <a:ext uri="{FF2B5EF4-FFF2-40B4-BE49-F238E27FC236}">
                    <a16:creationId xmlns:a16="http://schemas.microsoft.com/office/drawing/2014/main" id="{C257B220-6E3A-4158-8D1E-8B18CBFE6F6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3" y="2575"/>
                <a:ext cx="104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57" y="13"/>
                  </a:cxn>
                  <a:cxn ang="0">
                    <a:pos x="55" y="13"/>
                  </a:cxn>
                  <a:cxn ang="0">
                    <a:pos x="77" y="14"/>
                  </a:cxn>
                  <a:cxn ang="0">
                    <a:pos x="78" y="14"/>
                  </a:cxn>
                  <a:cxn ang="0">
                    <a:pos x="80" y="13"/>
                  </a:cxn>
                  <a:cxn ang="0">
                    <a:pos x="82" y="13"/>
                  </a:cxn>
                  <a:cxn ang="0">
                    <a:pos x="83" y="11"/>
                  </a:cxn>
                  <a:cxn ang="0">
                    <a:pos x="83" y="10"/>
                  </a:cxn>
                  <a:cxn ang="0">
                    <a:pos x="85" y="8"/>
                  </a:cxn>
                  <a:cxn ang="0">
                    <a:pos x="85" y="6"/>
                  </a:cxn>
                  <a:cxn ang="0">
                    <a:pos x="83" y="5"/>
                  </a:cxn>
                  <a:cxn ang="0">
                    <a:pos x="83" y="3"/>
                  </a:cxn>
                  <a:cxn ang="0">
                    <a:pos x="82" y="1"/>
                  </a:cxn>
                  <a:cxn ang="0">
                    <a:pos x="78" y="1"/>
                  </a:cxn>
                  <a:cxn ang="0">
                    <a:pos x="57" y="0"/>
                  </a:cxn>
                  <a:cxn ang="0">
                    <a:pos x="7" y="0"/>
                  </a:cxn>
                </a:cxnLst>
                <a:rect l="0" t="0" r="r" b="b"/>
                <a:pathLst>
                  <a:path w="85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7" y="13"/>
                    </a:lnTo>
                    <a:lnTo>
                      <a:pt x="55" y="13"/>
                    </a:lnTo>
                    <a:lnTo>
                      <a:pt x="77" y="14"/>
                    </a:lnTo>
                    <a:lnTo>
                      <a:pt x="78" y="14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3" y="11"/>
                    </a:lnTo>
                    <a:lnTo>
                      <a:pt x="83" y="10"/>
                    </a:lnTo>
                    <a:lnTo>
                      <a:pt x="85" y="8"/>
                    </a:lnTo>
                    <a:lnTo>
                      <a:pt x="85" y="6"/>
                    </a:lnTo>
                    <a:lnTo>
                      <a:pt x="83" y="5"/>
                    </a:lnTo>
                    <a:lnTo>
                      <a:pt x="83" y="3"/>
                    </a:lnTo>
                    <a:lnTo>
                      <a:pt x="82" y="1"/>
                    </a:lnTo>
                    <a:lnTo>
                      <a:pt x="78" y="1"/>
                    </a:lnTo>
                    <a:lnTo>
                      <a:pt x="57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5" name="Freeform 41">
                <a:extLst>
                  <a:ext uri="{FF2B5EF4-FFF2-40B4-BE49-F238E27FC236}">
                    <a16:creationId xmlns:a16="http://schemas.microsoft.com/office/drawing/2014/main" id="{4204991A-B2C8-43BF-9455-EAD992B44D6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8" y="2814"/>
                <a:ext cx="507" cy="11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3" y="10"/>
                  </a:cxn>
                  <a:cxn ang="0">
                    <a:pos x="5" y="11"/>
                  </a:cxn>
                  <a:cxn ang="0">
                    <a:pos x="58" y="16"/>
                  </a:cxn>
                  <a:cxn ang="0">
                    <a:pos x="199" y="23"/>
                  </a:cxn>
                  <a:cxn ang="0">
                    <a:pos x="267" y="25"/>
                  </a:cxn>
                  <a:cxn ang="0">
                    <a:pos x="364" y="29"/>
                  </a:cxn>
                  <a:cxn ang="0">
                    <a:pos x="402" y="26"/>
                  </a:cxn>
                  <a:cxn ang="0">
                    <a:pos x="403" y="46"/>
                  </a:cxn>
                  <a:cxn ang="0">
                    <a:pos x="397" y="56"/>
                  </a:cxn>
                  <a:cxn ang="0">
                    <a:pos x="388" y="64"/>
                  </a:cxn>
                  <a:cxn ang="0">
                    <a:pos x="380" y="67"/>
                  </a:cxn>
                  <a:cxn ang="0">
                    <a:pos x="362" y="72"/>
                  </a:cxn>
                  <a:cxn ang="0">
                    <a:pos x="347" y="72"/>
                  </a:cxn>
                  <a:cxn ang="0">
                    <a:pos x="266" y="80"/>
                  </a:cxn>
                  <a:cxn ang="0">
                    <a:pos x="126" y="80"/>
                  </a:cxn>
                  <a:cxn ang="0">
                    <a:pos x="41" y="75"/>
                  </a:cxn>
                  <a:cxn ang="0">
                    <a:pos x="38" y="56"/>
                  </a:cxn>
                  <a:cxn ang="0">
                    <a:pos x="18" y="16"/>
                  </a:cxn>
                  <a:cxn ang="0">
                    <a:pos x="12" y="2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7" y="21"/>
                  </a:cxn>
                  <a:cxn ang="0">
                    <a:pos x="15" y="41"/>
                  </a:cxn>
                  <a:cxn ang="0">
                    <a:pos x="26" y="60"/>
                  </a:cxn>
                  <a:cxn ang="0">
                    <a:pos x="36" y="85"/>
                  </a:cxn>
                  <a:cxn ang="0">
                    <a:pos x="38" y="87"/>
                  </a:cxn>
                  <a:cxn ang="0">
                    <a:pos x="80" y="91"/>
                  </a:cxn>
                  <a:cxn ang="0">
                    <a:pos x="267" y="93"/>
                  </a:cxn>
                  <a:cxn ang="0">
                    <a:pos x="349" y="85"/>
                  </a:cxn>
                  <a:cxn ang="0">
                    <a:pos x="385" y="80"/>
                  </a:cxn>
                  <a:cxn ang="0">
                    <a:pos x="395" y="73"/>
                  </a:cxn>
                  <a:cxn ang="0">
                    <a:pos x="397" y="72"/>
                  </a:cxn>
                  <a:cxn ang="0">
                    <a:pos x="408" y="62"/>
                  </a:cxn>
                  <a:cxn ang="0">
                    <a:pos x="415" y="47"/>
                  </a:cxn>
                  <a:cxn ang="0">
                    <a:pos x="417" y="33"/>
                  </a:cxn>
                  <a:cxn ang="0">
                    <a:pos x="413" y="23"/>
                  </a:cxn>
                  <a:cxn ang="0">
                    <a:pos x="412" y="20"/>
                  </a:cxn>
                  <a:cxn ang="0">
                    <a:pos x="365" y="16"/>
                  </a:cxn>
                  <a:cxn ang="0">
                    <a:pos x="269" y="11"/>
                  </a:cxn>
                  <a:cxn ang="0">
                    <a:pos x="60" y="3"/>
                  </a:cxn>
                </a:cxnLst>
                <a:rect l="0" t="0" r="r" b="b"/>
                <a:pathLst>
                  <a:path w="417" h="93">
                    <a:moveTo>
                      <a:pt x="8" y="0"/>
                    </a:moveTo>
                    <a:lnTo>
                      <a:pt x="5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3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58" y="16"/>
                    </a:lnTo>
                    <a:lnTo>
                      <a:pt x="197" y="23"/>
                    </a:lnTo>
                    <a:lnTo>
                      <a:pt x="199" y="23"/>
                    </a:lnTo>
                    <a:lnTo>
                      <a:pt x="269" y="25"/>
                    </a:lnTo>
                    <a:lnTo>
                      <a:pt x="267" y="25"/>
                    </a:lnTo>
                    <a:lnTo>
                      <a:pt x="325" y="28"/>
                    </a:lnTo>
                    <a:lnTo>
                      <a:pt x="364" y="29"/>
                    </a:lnTo>
                    <a:lnTo>
                      <a:pt x="407" y="33"/>
                    </a:lnTo>
                    <a:lnTo>
                      <a:pt x="402" y="26"/>
                    </a:lnTo>
                    <a:lnTo>
                      <a:pt x="403" y="34"/>
                    </a:lnTo>
                    <a:lnTo>
                      <a:pt x="403" y="46"/>
                    </a:lnTo>
                    <a:lnTo>
                      <a:pt x="403" y="42"/>
                    </a:lnTo>
                    <a:lnTo>
                      <a:pt x="397" y="56"/>
                    </a:lnTo>
                    <a:lnTo>
                      <a:pt x="398" y="54"/>
                    </a:lnTo>
                    <a:lnTo>
                      <a:pt x="388" y="64"/>
                    </a:lnTo>
                    <a:lnTo>
                      <a:pt x="390" y="62"/>
                    </a:lnTo>
                    <a:lnTo>
                      <a:pt x="380" y="67"/>
                    </a:lnTo>
                    <a:lnTo>
                      <a:pt x="382" y="67"/>
                    </a:lnTo>
                    <a:lnTo>
                      <a:pt x="362" y="72"/>
                    </a:lnTo>
                    <a:lnTo>
                      <a:pt x="364" y="72"/>
                    </a:lnTo>
                    <a:lnTo>
                      <a:pt x="347" y="72"/>
                    </a:lnTo>
                    <a:lnTo>
                      <a:pt x="307" y="75"/>
                    </a:lnTo>
                    <a:lnTo>
                      <a:pt x="266" y="80"/>
                    </a:lnTo>
                    <a:lnTo>
                      <a:pt x="267" y="80"/>
                    </a:lnTo>
                    <a:lnTo>
                      <a:pt x="126" y="80"/>
                    </a:lnTo>
                    <a:lnTo>
                      <a:pt x="81" y="78"/>
                    </a:lnTo>
                    <a:lnTo>
                      <a:pt x="41" y="75"/>
                    </a:lnTo>
                    <a:lnTo>
                      <a:pt x="46" y="78"/>
                    </a:lnTo>
                    <a:lnTo>
                      <a:pt x="38" y="56"/>
                    </a:lnTo>
                    <a:lnTo>
                      <a:pt x="26" y="34"/>
                    </a:lnTo>
                    <a:lnTo>
                      <a:pt x="18" y="16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7" y="21"/>
                    </a:lnTo>
                    <a:lnTo>
                      <a:pt x="15" y="39"/>
                    </a:lnTo>
                    <a:lnTo>
                      <a:pt x="15" y="41"/>
                    </a:lnTo>
                    <a:lnTo>
                      <a:pt x="26" y="62"/>
                    </a:lnTo>
                    <a:lnTo>
                      <a:pt x="26" y="60"/>
                    </a:lnTo>
                    <a:lnTo>
                      <a:pt x="35" y="83"/>
                    </a:lnTo>
                    <a:lnTo>
                      <a:pt x="36" y="85"/>
                    </a:lnTo>
                    <a:lnTo>
                      <a:pt x="36" y="87"/>
                    </a:lnTo>
                    <a:lnTo>
                      <a:pt x="38" y="87"/>
                    </a:lnTo>
                    <a:lnTo>
                      <a:pt x="40" y="88"/>
                    </a:lnTo>
                    <a:lnTo>
                      <a:pt x="80" y="91"/>
                    </a:lnTo>
                    <a:lnTo>
                      <a:pt x="124" y="93"/>
                    </a:lnTo>
                    <a:lnTo>
                      <a:pt x="267" y="93"/>
                    </a:lnTo>
                    <a:lnTo>
                      <a:pt x="309" y="88"/>
                    </a:lnTo>
                    <a:lnTo>
                      <a:pt x="349" y="85"/>
                    </a:lnTo>
                    <a:lnTo>
                      <a:pt x="365" y="85"/>
                    </a:lnTo>
                    <a:lnTo>
                      <a:pt x="385" y="80"/>
                    </a:lnTo>
                    <a:lnTo>
                      <a:pt x="385" y="78"/>
                    </a:lnTo>
                    <a:lnTo>
                      <a:pt x="395" y="73"/>
                    </a:lnTo>
                    <a:lnTo>
                      <a:pt x="397" y="73"/>
                    </a:lnTo>
                    <a:lnTo>
                      <a:pt x="397" y="72"/>
                    </a:lnTo>
                    <a:lnTo>
                      <a:pt x="407" y="62"/>
                    </a:lnTo>
                    <a:lnTo>
                      <a:pt x="408" y="62"/>
                    </a:lnTo>
                    <a:lnTo>
                      <a:pt x="408" y="60"/>
                    </a:lnTo>
                    <a:lnTo>
                      <a:pt x="415" y="47"/>
                    </a:lnTo>
                    <a:lnTo>
                      <a:pt x="417" y="46"/>
                    </a:lnTo>
                    <a:lnTo>
                      <a:pt x="417" y="33"/>
                    </a:lnTo>
                    <a:lnTo>
                      <a:pt x="415" y="25"/>
                    </a:lnTo>
                    <a:lnTo>
                      <a:pt x="413" y="23"/>
                    </a:lnTo>
                    <a:lnTo>
                      <a:pt x="413" y="21"/>
                    </a:lnTo>
                    <a:lnTo>
                      <a:pt x="412" y="20"/>
                    </a:lnTo>
                    <a:lnTo>
                      <a:pt x="408" y="20"/>
                    </a:lnTo>
                    <a:lnTo>
                      <a:pt x="365" y="16"/>
                    </a:lnTo>
                    <a:lnTo>
                      <a:pt x="327" y="15"/>
                    </a:lnTo>
                    <a:lnTo>
                      <a:pt x="269" y="11"/>
                    </a:lnTo>
                    <a:lnTo>
                      <a:pt x="199" y="10"/>
                    </a:lnTo>
                    <a:lnTo>
                      <a:pt x="60" y="3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6" name="Freeform 42">
                <a:extLst>
                  <a:ext uri="{FF2B5EF4-FFF2-40B4-BE49-F238E27FC236}">
                    <a16:creationId xmlns:a16="http://schemas.microsoft.com/office/drawing/2014/main" id="{F5C8AAE0-6D98-42AA-8BF3-6FE96D90ABE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6" y="2967"/>
                <a:ext cx="45" cy="91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8" y="29"/>
                  </a:cxn>
                  <a:cxn ang="0">
                    <a:pos x="15" y="46"/>
                  </a:cxn>
                  <a:cxn ang="0">
                    <a:pos x="20" y="60"/>
                  </a:cxn>
                  <a:cxn ang="0">
                    <a:pos x="23" y="69"/>
                  </a:cxn>
                  <a:cxn ang="0">
                    <a:pos x="23" y="70"/>
                  </a:cxn>
                  <a:cxn ang="0">
                    <a:pos x="25" y="72"/>
                  </a:cxn>
                  <a:cxn ang="0">
                    <a:pos x="27" y="72"/>
                  </a:cxn>
                  <a:cxn ang="0">
                    <a:pos x="28" y="74"/>
                  </a:cxn>
                  <a:cxn ang="0">
                    <a:pos x="30" y="74"/>
                  </a:cxn>
                  <a:cxn ang="0">
                    <a:pos x="32" y="72"/>
                  </a:cxn>
                  <a:cxn ang="0">
                    <a:pos x="33" y="72"/>
                  </a:cxn>
                  <a:cxn ang="0">
                    <a:pos x="35" y="70"/>
                  </a:cxn>
                  <a:cxn ang="0">
                    <a:pos x="35" y="69"/>
                  </a:cxn>
                  <a:cxn ang="0">
                    <a:pos x="37" y="67"/>
                  </a:cxn>
                  <a:cxn ang="0">
                    <a:pos x="37" y="65"/>
                  </a:cxn>
                  <a:cxn ang="0">
                    <a:pos x="35" y="64"/>
                  </a:cxn>
                  <a:cxn ang="0">
                    <a:pos x="32" y="56"/>
                  </a:cxn>
                  <a:cxn ang="0">
                    <a:pos x="27" y="41"/>
                  </a:cxn>
                  <a:cxn ang="0">
                    <a:pos x="20" y="25"/>
                  </a:cxn>
                  <a:cxn ang="0">
                    <a:pos x="12" y="3"/>
                  </a:cxn>
                </a:cxnLst>
                <a:rect l="0" t="0" r="r" b="b"/>
                <a:pathLst>
                  <a:path w="37" h="74">
                    <a:moveTo>
                      <a:pt x="12" y="3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8" y="29"/>
                    </a:lnTo>
                    <a:lnTo>
                      <a:pt x="15" y="46"/>
                    </a:lnTo>
                    <a:lnTo>
                      <a:pt x="20" y="60"/>
                    </a:lnTo>
                    <a:lnTo>
                      <a:pt x="23" y="69"/>
                    </a:lnTo>
                    <a:lnTo>
                      <a:pt x="23" y="70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28" y="74"/>
                    </a:lnTo>
                    <a:lnTo>
                      <a:pt x="30" y="74"/>
                    </a:lnTo>
                    <a:lnTo>
                      <a:pt x="32" y="72"/>
                    </a:lnTo>
                    <a:lnTo>
                      <a:pt x="33" y="72"/>
                    </a:lnTo>
                    <a:lnTo>
                      <a:pt x="35" y="70"/>
                    </a:lnTo>
                    <a:lnTo>
                      <a:pt x="35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5" y="64"/>
                    </a:lnTo>
                    <a:lnTo>
                      <a:pt x="32" y="56"/>
                    </a:lnTo>
                    <a:lnTo>
                      <a:pt x="27" y="41"/>
                    </a:lnTo>
                    <a:lnTo>
                      <a:pt x="20" y="25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" name="Freeform 43">
                <a:extLst>
                  <a:ext uri="{FF2B5EF4-FFF2-40B4-BE49-F238E27FC236}">
                    <a16:creationId xmlns:a16="http://schemas.microsoft.com/office/drawing/2014/main" id="{97E3A3B9-2B04-49D0-85B1-4927ECF1223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68" y="2983"/>
                <a:ext cx="44" cy="88"/>
              </a:xfrm>
              <a:custGeom>
                <a:avLst/>
                <a:gdLst/>
                <a:ahLst/>
                <a:cxnLst>
                  <a:cxn ang="0">
                    <a:pos x="11" y="3"/>
                  </a:cxn>
                  <a:cxn ang="0">
                    <a:pos x="11" y="2"/>
                  </a:cxn>
                  <a:cxn ang="0">
                    <a:pos x="10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0" y="31"/>
                  </a:cxn>
                  <a:cxn ang="0">
                    <a:pos x="16" y="51"/>
                  </a:cxn>
                  <a:cxn ang="0">
                    <a:pos x="23" y="67"/>
                  </a:cxn>
                  <a:cxn ang="0">
                    <a:pos x="23" y="69"/>
                  </a:cxn>
                  <a:cxn ang="0">
                    <a:pos x="25" y="70"/>
                  </a:cxn>
                  <a:cxn ang="0">
                    <a:pos x="26" y="70"/>
                  </a:cxn>
                  <a:cxn ang="0">
                    <a:pos x="28" y="72"/>
                  </a:cxn>
                  <a:cxn ang="0">
                    <a:pos x="30" y="72"/>
                  </a:cxn>
                  <a:cxn ang="0">
                    <a:pos x="31" y="70"/>
                  </a:cxn>
                  <a:cxn ang="0">
                    <a:pos x="33" y="70"/>
                  </a:cxn>
                  <a:cxn ang="0">
                    <a:pos x="35" y="69"/>
                  </a:cxn>
                  <a:cxn ang="0">
                    <a:pos x="35" y="67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2"/>
                  </a:cxn>
                  <a:cxn ang="0">
                    <a:pos x="28" y="46"/>
                  </a:cxn>
                  <a:cxn ang="0">
                    <a:pos x="21" y="26"/>
                  </a:cxn>
                  <a:cxn ang="0">
                    <a:pos x="11" y="3"/>
                  </a:cxn>
                </a:cxnLst>
                <a:rect l="0" t="0" r="r" b="b"/>
                <a:pathLst>
                  <a:path w="36" h="72">
                    <a:moveTo>
                      <a:pt x="11" y="3"/>
                    </a:moveTo>
                    <a:lnTo>
                      <a:pt x="11" y="2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0" y="31"/>
                    </a:lnTo>
                    <a:lnTo>
                      <a:pt x="16" y="51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5" y="70"/>
                    </a:lnTo>
                    <a:lnTo>
                      <a:pt x="26" y="70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1" y="70"/>
                    </a:lnTo>
                    <a:lnTo>
                      <a:pt x="33" y="70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6" y="65"/>
                    </a:lnTo>
                    <a:lnTo>
                      <a:pt x="36" y="64"/>
                    </a:lnTo>
                    <a:lnTo>
                      <a:pt x="35" y="62"/>
                    </a:lnTo>
                    <a:lnTo>
                      <a:pt x="28" y="46"/>
                    </a:lnTo>
                    <a:lnTo>
                      <a:pt x="21" y="26"/>
                    </a:lnTo>
                    <a:lnTo>
                      <a:pt x="11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8" name="Freeform 44">
                <a:extLst>
                  <a:ext uri="{FF2B5EF4-FFF2-40B4-BE49-F238E27FC236}">
                    <a16:creationId xmlns:a16="http://schemas.microsoft.com/office/drawing/2014/main" id="{9D3F0DBE-E0A8-4C3F-A85E-D733A0D6B78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39" y="2276"/>
                <a:ext cx="526" cy="1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" y="10"/>
                  </a:cxn>
                  <a:cxn ang="0">
                    <a:pos x="5" y="12"/>
                  </a:cxn>
                  <a:cxn ang="0">
                    <a:pos x="8" y="13"/>
                  </a:cxn>
                  <a:cxn ang="0">
                    <a:pos x="227" y="17"/>
                  </a:cxn>
                  <a:cxn ang="0">
                    <a:pos x="378" y="17"/>
                  </a:cxn>
                  <a:cxn ang="0">
                    <a:pos x="408" y="64"/>
                  </a:cxn>
                  <a:cxn ang="0">
                    <a:pos x="420" y="87"/>
                  </a:cxn>
                  <a:cxn ang="0">
                    <a:pos x="418" y="87"/>
                  </a:cxn>
                  <a:cxn ang="0">
                    <a:pos x="362" y="82"/>
                  </a:cxn>
                  <a:cxn ang="0">
                    <a:pos x="239" y="70"/>
                  </a:cxn>
                  <a:cxn ang="0">
                    <a:pos x="117" y="49"/>
                  </a:cxn>
                  <a:cxn ang="0">
                    <a:pos x="73" y="38"/>
                  </a:cxn>
                  <a:cxn ang="0">
                    <a:pos x="14" y="23"/>
                  </a:cxn>
                  <a:cxn ang="0">
                    <a:pos x="14" y="20"/>
                  </a:cxn>
                  <a:cxn ang="0">
                    <a:pos x="11" y="13"/>
                  </a:cxn>
                  <a:cxn ang="0">
                    <a:pos x="13" y="8"/>
                  </a:cxn>
                  <a:cxn ang="0">
                    <a:pos x="11" y="5"/>
                  </a:cxn>
                  <a:cxn ang="0">
                    <a:pos x="10" y="2"/>
                  </a:cxn>
                  <a:cxn ang="0">
                    <a:pos x="0" y="5"/>
                  </a:cxn>
                  <a:cxn ang="0">
                    <a:pos x="0" y="17"/>
                  </a:cxn>
                  <a:cxn ang="0">
                    <a:pos x="3" y="26"/>
                  </a:cxn>
                  <a:cxn ang="0">
                    <a:pos x="6" y="33"/>
                  </a:cxn>
                  <a:cxn ang="0">
                    <a:pos x="10" y="35"/>
                  </a:cxn>
                  <a:cxn ang="0">
                    <a:pos x="24" y="39"/>
                  </a:cxn>
                  <a:cxn ang="0">
                    <a:pos x="69" y="49"/>
                  </a:cxn>
                  <a:cxn ang="0">
                    <a:pos x="116" y="62"/>
                  </a:cxn>
                  <a:cxn ang="0">
                    <a:pos x="237" y="83"/>
                  </a:cxn>
                  <a:cxn ang="0">
                    <a:pos x="360" y="95"/>
                  </a:cxn>
                  <a:cxn ang="0">
                    <a:pos x="425" y="97"/>
                  </a:cxn>
                  <a:cxn ang="0">
                    <a:pos x="428" y="95"/>
                  </a:cxn>
                  <a:cxn ang="0">
                    <a:pos x="430" y="92"/>
                  </a:cxn>
                  <a:cxn ang="0">
                    <a:pos x="433" y="85"/>
                  </a:cxn>
                  <a:cxn ang="0">
                    <a:pos x="431" y="82"/>
                  </a:cxn>
                  <a:cxn ang="0">
                    <a:pos x="420" y="56"/>
                  </a:cxn>
                  <a:cxn ang="0">
                    <a:pos x="406" y="38"/>
                  </a:cxn>
                  <a:cxn ang="0">
                    <a:pos x="390" y="8"/>
                  </a:cxn>
                  <a:cxn ang="0">
                    <a:pos x="385" y="7"/>
                  </a:cxn>
                  <a:cxn ang="0">
                    <a:pos x="106" y="0"/>
                  </a:cxn>
                </a:cxnLst>
                <a:rect l="0" t="0" r="r" b="b"/>
                <a:pathLst>
                  <a:path w="433" h="97">
                    <a:moveTo>
                      <a:pt x="8" y="0"/>
                    </a:moveTo>
                    <a:lnTo>
                      <a:pt x="5" y="0"/>
                    </a:lnTo>
                    <a:lnTo>
                      <a:pt x="1" y="4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3"/>
                    </a:lnTo>
                    <a:lnTo>
                      <a:pt x="106" y="13"/>
                    </a:lnTo>
                    <a:lnTo>
                      <a:pt x="227" y="17"/>
                    </a:lnTo>
                    <a:lnTo>
                      <a:pt x="385" y="20"/>
                    </a:lnTo>
                    <a:lnTo>
                      <a:pt x="378" y="17"/>
                    </a:lnTo>
                    <a:lnTo>
                      <a:pt x="395" y="44"/>
                    </a:lnTo>
                    <a:lnTo>
                      <a:pt x="408" y="64"/>
                    </a:lnTo>
                    <a:lnTo>
                      <a:pt x="408" y="62"/>
                    </a:lnTo>
                    <a:lnTo>
                      <a:pt x="420" y="87"/>
                    </a:lnTo>
                    <a:lnTo>
                      <a:pt x="420" y="82"/>
                    </a:lnTo>
                    <a:lnTo>
                      <a:pt x="418" y="87"/>
                    </a:lnTo>
                    <a:lnTo>
                      <a:pt x="425" y="83"/>
                    </a:lnTo>
                    <a:lnTo>
                      <a:pt x="362" y="82"/>
                    </a:lnTo>
                    <a:lnTo>
                      <a:pt x="303" y="79"/>
                    </a:lnTo>
                    <a:lnTo>
                      <a:pt x="239" y="70"/>
                    </a:lnTo>
                    <a:lnTo>
                      <a:pt x="177" y="59"/>
                    </a:lnTo>
                    <a:lnTo>
                      <a:pt x="117" y="49"/>
                    </a:lnTo>
                    <a:lnTo>
                      <a:pt x="119" y="49"/>
                    </a:lnTo>
                    <a:lnTo>
                      <a:pt x="73" y="38"/>
                    </a:lnTo>
                    <a:lnTo>
                      <a:pt x="28" y="26"/>
                    </a:lnTo>
                    <a:lnTo>
                      <a:pt x="14" y="23"/>
                    </a:lnTo>
                    <a:lnTo>
                      <a:pt x="18" y="25"/>
                    </a:lnTo>
                    <a:lnTo>
                      <a:pt x="14" y="20"/>
                    </a:lnTo>
                    <a:lnTo>
                      <a:pt x="14" y="21"/>
                    </a:lnTo>
                    <a:lnTo>
                      <a:pt x="11" y="13"/>
                    </a:lnTo>
                    <a:lnTo>
                      <a:pt x="13" y="17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6" y="33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1" y="36"/>
                    </a:lnTo>
                    <a:lnTo>
                      <a:pt x="24" y="39"/>
                    </a:lnTo>
                    <a:lnTo>
                      <a:pt x="24" y="38"/>
                    </a:lnTo>
                    <a:lnTo>
                      <a:pt x="69" y="49"/>
                    </a:lnTo>
                    <a:lnTo>
                      <a:pt x="69" y="51"/>
                    </a:lnTo>
                    <a:lnTo>
                      <a:pt x="116" y="62"/>
                    </a:lnTo>
                    <a:lnTo>
                      <a:pt x="176" y="72"/>
                    </a:lnTo>
                    <a:lnTo>
                      <a:pt x="237" y="83"/>
                    </a:lnTo>
                    <a:lnTo>
                      <a:pt x="302" y="92"/>
                    </a:lnTo>
                    <a:lnTo>
                      <a:pt x="360" y="95"/>
                    </a:lnTo>
                    <a:lnTo>
                      <a:pt x="362" y="95"/>
                    </a:lnTo>
                    <a:lnTo>
                      <a:pt x="425" y="97"/>
                    </a:lnTo>
                    <a:lnTo>
                      <a:pt x="426" y="95"/>
                    </a:lnTo>
                    <a:lnTo>
                      <a:pt x="428" y="95"/>
                    </a:lnTo>
                    <a:lnTo>
                      <a:pt x="430" y="93"/>
                    </a:lnTo>
                    <a:lnTo>
                      <a:pt x="430" y="92"/>
                    </a:lnTo>
                    <a:lnTo>
                      <a:pt x="431" y="87"/>
                    </a:lnTo>
                    <a:lnTo>
                      <a:pt x="433" y="85"/>
                    </a:lnTo>
                    <a:lnTo>
                      <a:pt x="433" y="83"/>
                    </a:lnTo>
                    <a:lnTo>
                      <a:pt x="431" y="82"/>
                    </a:lnTo>
                    <a:lnTo>
                      <a:pt x="420" y="57"/>
                    </a:lnTo>
                    <a:lnTo>
                      <a:pt x="420" y="56"/>
                    </a:lnTo>
                    <a:lnTo>
                      <a:pt x="406" y="36"/>
                    </a:lnTo>
                    <a:lnTo>
                      <a:pt x="406" y="38"/>
                    </a:lnTo>
                    <a:lnTo>
                      <a:pt x="390" y="10"/>
                    </a:lnTo>
                    <a:lnTo>
                      <a:pt x="390" y="8"/>
                    </a:lnTo>
                    <a:lnTo>
                      <a:pt x="388" y="7"/>
                    </a:lnTo>
                    <a:lnTo>
                      <a:pt x="385" y="7"/>
                    </a:lnTo>
                    <a:lnTo>
                      <a:pt x="227" y="4"/>
                    </a:lnTo>
                    <a:lnTo>
                      <a:pt x="106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" name="Freeform 45">
                <a:extLst>
                  <a:ext uri="{FF2B5EF4-FFF2-40B4-BE49-F238E27FC236}">
                    <a16:creationId xmlns:a16="http://schemas.microsoft.com/office/drawing/2014/main" id="{E6C20BA6-6669-44B1-B01F-3D5A11893F3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50" y="2480"/>
                <a:ext cx="91" cy="25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4" y="15"/>
                  </a:cxn>
                  <a:cxn ang="0">
                    <a:pos x="5" y="15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4" y="21"/>
                  </a:cxn>
                  <a:cxn ang="0">
                    <a:pos x="60" y="21"/>
                  </a:cxn>
                  <a:cxn ang="0">
                    <a:pos x="67" y="20"/>
                  </a:cxn>
                  <a:cxn ang="0">
                    <a:pos x="68" y="18"/>
                  </a:cxn>
                  <a:cxn ang="0">
                    <a:pos x="68" y="16"/>
                  </a:cxn>
                  <a:cxn ang="0">
                    <a:pos x="72" y="13"/>
                  </a:cxn>
                  <a:cxn ang="0">
                    <a:pos x="73" y="13"/>
                  </a:cxn>
                  <a:cxn ang="0">
                    <a:pos x="73" y="12"/>
                  </a:cxn>
                  <a:cxn ang="0">
                    <a:pos x="75" y="10"/>
                  </a:cxn>
                  <a:cxn ang="0">
                    <a:pos x="75" y="7"/>
                  </a:cxn>
                  <a:cxn ang="0">
                    <a:pos x="73" y="5"/>
                  </a:cxn>
                  <a:cxn ang="0">
                    <a:pos x="73" y="3"/>
                  </a:cxn>
                  <a:cxn ang="0">
                    <a:pos x="72" y="2"/>
                  </a:cxn>
                  <a:cxn ang="0">
                    <a:pos x="72" y="0"/>
                  </a:cxn>
                  <a:cxn ang="0">
                    <a:pos x="65" y="0"/>
                  </a:cxn>
                  <a:cxn ang="0">
                    <a:pos x="62" y="3"/>
                  </a:cxn>
                  <a:cxn ang="0">
                    <a:pos x="62" y="7"/>
                  </a:cxn>
                  <a:cxn ang="0">
                    <a:pos x="62" y="10"/>
                  </a:cxn>
                  <a:cxn ang="0">
                    <a:pos x="64" y="5"/>
                  </a:cxn>
                  <a:cxn ang="0">
                    <a:pos x="60" y="8"/>
                  </a:cxn>
                  <a:cxn ang="0">
                    <a:pos x="64" y="7"/>
                  </a:cxn>
                  <a:cxn ang="0">
                    <a:pos x="57" y="8"/>
                  </a:cxn>
                  <a:cxn ang="0">
                    <a:pos x="59" y="8"/>
                  </a:cxn>
                  <a:cxn ang="0">
                    <a:pos x="14" y="8"/>
                  </a:cxn>
                  <a:cxn ang="0">
                    <a:pos x="17" y="10"/>
                  </a:cxn>
                  <a:cxn ang="0">
                    <a:pos x="14" y="7"/>
                  </a:cxn>
                  <a:cxn ang="0">
                    <a:pos x="15" y="7"/>
                  </a:cxn>
                  <a:cxn ang="0">
                    <a:pos x="12" y="2"/>
                  </a:cxn>
                </a:cxnLst>
                <a:rect l="0" t="0" r="r" b="b"/>
                <a:pathLst>
                  <a:path w="75" h="21">
                    <a:moveTo>
                      <a:pt x="12" y="2"/>
                    </a:moveTo>
                    <a:lnTo>
                      <a:pt x="10" y="2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4" y="15"/>
                    </a:lnTo>
                    <a:lnTo>
                      <a:pt x="5" y="15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4" y="21"/>
                    </a:lnTo>
                    <a:lnTo>
                      <a:pt x="60" y="21"/>
                    </a:lnTo>
                    <a:lnTo>
                      <a:pt x="67" y="20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2"/>
                    </a:lnTo>
                    <a:lnTo>
                      <a:pt x="75" y="10"/>
                    </a:lnTo>
                    <a:lnTo>
                      <a:pt x="75" y="7"/>
                    </a:lnTo>
                    <a:lnTo>
                      <a:pt x="73" y="5"/>
                    </a:lnTo>
                    <a:lnTo>
                      <a:pt x="73" y="3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65" y="0"/>
                    </a:lnTo>
                    <a:lnTo>
                      <a:pt x="62" y="3"/>
                    </a:lnTo>
                    <a:lnTo>
                      <a:pt x="62" y="7"/>
                    </a:lnTo>
                    <a:lnTo>
                      <a:pt x="62" y="10"/>
                    </a:lnTo>
                    <a:lnTo>
                      <a:pt x="64" y="5"/>
                    </a:lnTo>
                    <a:lnTo>
                      <a:pt x="60" y="8"/>
                    </a:lnTo>
                    <a:lnTo>
                      <a:pt x="64" y="7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14" y="8"/>
                    </a:lnTo>
                    <a:lnTo>
                      <a:pt x="17" y="10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2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46">
                <a:extLst>
                  <a:ext uri="{FF2B5EF4-FFF2-40B4-BE49-F238E27FC236}">
                    <a16:creationId xmlns:a16="http://schemas.microsoft.com/office/drawing/2014/main" id="{C81F9C09-2F95-4606-8BD9-FEAFCD37B0E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9" y="2014"/>
                <a:ext cx="125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5" y="12"/>
                  </a:cxn>
                  <a:cxn ang="0">
                    <a:pos x="7" y="13"/>
                  </a:cxn>
                  <a:cxn ang="0">
                    <a:pos x="38" y="13"/>
                  </a:cxn>
                  <a:cxn ang="0">
                    <a:pos x="37" y="13"/>
                  </a:cxn>
                  <a:cxn ang="0">
                    <a:pos x="75" y="15"/>
                  </a:cxn>
                  <a:cxn ang="0">
                    <a:pos x="97" y="15"/>
                  </a:cxn>
                  <a:cxn ang="0">
                    <a:pos x="98" y="13"/>
                  </a:cxn>
                  <a:cxn ang="0">
                    <a:pos x="100" y="13"/>
                  </a:cxn>
                  <a:cxn ang="0">
                    <a:pos x="100" y="12"/>
                  </a:cxn>
                  <a:cxn ang="0">
                    <a:pos x="102" y="12"/>
                  </a:cxn>
                  <a:cxn ang="0">
                    <a:pos x="102" y="10"/>
                  </a:cxn>
                  <a:cxn ang="0">
                    <a:pos x="103" y="9"/>
                  </a:cxn>
                  <a:cxn ang="0">
                    <a:pos x="102" y="7"/>
                  </a:cxn>
                  <a:cxn ang="0">
                    <a:pos x="102" y="5"/>
                  </a:cxn>
                  <a:cxn ang="0">
                    <a:pos x="100" y="4"/>
                  </a:cxn>
                  <a:cxn ang="0">
                    <a:pos x="100" y="2"/>
                  </a:cxn>
                  <a:cxn ang="0">
                    <a:pos x="97" y="2"/>
                  </a:cxn>
                  <a:cxn ang="0">
                    <a:pos x="77" y="2"/>
                  </a:cxn>
                  <a:cxn ang="0">
                    <a:pos x="38" y="0"/>
                  </a:cxn>
                  <a:cxn ang="0">
                    <a:pos x="7" y="0"/>
                  </a:cxn>
                </a:cxnLst>
                <a:rect l="0" t="0" r="r" b="b"/>
                <a:pathLst>
                  <a:path w="103" h="15">
                    <a:moveTo>
                      <a:pt x="7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7" y="13"/>
                    </a:lnTo>
                    <a:lnTo>
                      <a:pt x="38" y="13"/>
                    </a:lnTo>
                    <a:lnTo>
                      <a:pt x="37" y="13"/>
                    </a:lnTo>
                    <a:lnTo>
                      <a:pt x="75" y="15"/>
                    </a:lnTo>
                    <a:lnTo>
                      <a:pt x="97" y="15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3" y="9"/>
                    </a:lnTo>
                    <a:lnTo>
                      <a:pt x="102" y="7"/>
                    </a:lnTo>
                    <a:lnTo>
                      <a:pt x="102" y="5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97" y="2"/>
                    </a:lnTo>
                    <a:lnTo>
                      <a:pt x="77" y="2"/>
                    </a:lnTo>
                    <a:lnTo>
                      <a:pt x="38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Freeform 47">
                <a:extLst>
                  <a:ext uri="{FF2B5EF4-FFF2-40B4-BE49-F238E27FC236}">
                    <a16:creationId xmlns:a16="http://schemas.microsoft.com/office/drawing/2014/main" id="{2F3CA522-CFF9-4513-9F2F-44BC62C8031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7" y="2041"/>
                <a:ext cx="76" cy="3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4" y="12"/>
                  </a:cxn>
                  <a:cxn ang="0">
                    <a:pos x="27" y="20"/>
                  </a:cxn>
                  <a:cxn ang="0">
                    <a:pos x="49" y="27"/>
                  </a:cxn>
                  <a:cxn ang="0">
                    <a:pos x="50" y="28"/>
                  </a:cxn>
                  <a:cxn ang="0">
                    <a:pos x="57" y="28"/>
                  </a:cxn>
                  <a:cxn ang="0">
                    <a:pos x="58" y="27"/>
                  </a:cxn>
                  <a:cxn ang="0">
                    <a:pos x="60" y="27"/>
                  </a:cxn>
                  <a:cxn ang="0">
                    <a:pos x="60" y="25"/>
                  </a:cxn>
                  <a:cxn ang="0">
                    <a:pos x="62" y="25"/>
                  </a:cxn>
                  <a:cxn ang="0">
                    <a:pos x="62" y="23"/>
                  </a:cxn>
                  <a:cxn ang="0">
                    <a:pos x="63" y="22"/>
                  </a:cxn>
                  <a:cxn ang="0">
                    <a:pos x="62" y="20"/>
                  </a:cxn>
                  <a:cxn ang="0">
                    <a:pos x="62" y="18"/>
                  </a:cxn>
                  <a:cxn ang="0">
                    <a:pos x="60" y="17"/>
                  </a:cxn>
                  <a:cxn ang="0">
                    <a:pos x="60" y="15"/>
                  </a:cxn>
                  <a:cxn ang="0">
                    <a:pos x="57" y="15"/>
                  </a:cxn>
                  <a:cxn ang="0">
                    <a:pos x="52" y="15"/>
                  </a:cxn>
                  <a:cxn ang="0">
                    <a:pos x="54" y="15"/>
                  </a:cxn>
                  <a:cxn ang="0">
                    <a:pos x="32" y="9"/>
                  </a:cxn>
                  <a:cxn ang="0">
                    <a:pos x="9" y="0"/>
                  </a:cxn>
                </a:cxnLst>
                <a:rect l="0" t="0" r="r" b="b"/>
                <a:pathLst>
                  <a:path w="63" h="28">
                    <a:moveTo>
                      <a:pt x="9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27" y="20"/>
                    </a:lnTo>
                    <a:lnTo>
                      <a:pt x="49" y="27"/>
                    </a:lnTo>
                    <a:lnTo>
                      <a:pt x="50" y="28"/>
                    </a:lnTo>
                    <a:lnTo>
                      <a:pt x="57" y="28"/>
                    </a:lnTo>
                    <a:lnTo>
                      <a:pt x="58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2" y="23"/>
                    </a:lnTo>
                    <a:lnTo>
                      <a:pt x="63" y="22"/>
                    </a:lnTo>
                    <a:lnTo>
                      <a:pt x="62" y="20"/>
                    </a:lnTo>
                    <a:lnTo>
                      <a:pt x="62" y="18"/>
                    </a:lnTo>
                    <a:lnTo>
                      <a:pt x="60" y="17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52" y="15"/>
                    </a:lnTo>
                    <a:lnTo>
                      <a:pt x="54" y="15"/>
                    </a:lnTo>
                    <a:lnTo>
                      <a:pt x="32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48">
                <a:extLst>
                  <a:ext uri="{FF2B5EF4-FFF2-40B4-BE49-F238E27FC236}">
                    <a16:creationId xmlns:a16="http://schemas.microsoft.com/office/drawing/2014/main" id="{20060986-4786-441B-8FA6-8BCE7DDBFBD0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45"/>
                <a:ext cx="46" cy="3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23" y="16"/>
                  </a:cxn>
                  <a:cxn ang="0">
                    <a:pos x="18" y="15"/>
                  </a:cxn>
                  <a:cxn ang="0">
                    <a:pos x="23" y="21"/>
                  </a:cxn>
                  <a:cxn ang="0">
                    <a:pos x="23" y="20"/>
                  </a:cxn>
                  <a:cxn ang="0">
                    <a:pos x="25" y="25"/>
                  </a:cxn>
                  <a:cxn ang="0">
                    <a:pos x="25" y="26"/>
                  </a:cxn>
                  <a:cxn ang="0">
                    <a:pos x="27" y="28"/>
                  </a:cxn>
                  <a:cxn ang="0">
                    <a:pos x="28" y="28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3" y="28"/>
                  </a:cxn>
                  <a:cxn ang="0">
                    <a:pos x="35" y="28"/>
                  </a:cxn>
                  <a:cxn ang="0">
                    <a:pos x="37" y="26"/>
                  </a:cxn>
                  <a:cxn ang="0">
                    <a:pos x="37" y="25"/>
                  </a:cxn>
                  <a:cxn ang="0">
                    <a:pos x="38" y="23"/>
                  </a:cxn>
                  <a:cxn ang="0">
                    <a:pos x="38" y="21"/>
                  </a:cxn>
                  <a:cxn ang="0">
                    <a:pos x="37" y="20"/>
                  </a:cxn>
                  <a:cxn ang="0">
                    <a:pos x="35" y="15"/>
                  </a:cxn>
                  <a:cxn ang="0">
                    <a:pos x="35" y="13"/>
                  </a:cxn>
                  <a:cxn ang="0">
                    <a:pos x="30" y="7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7" y="5"/>
                  </a:cxn>
                  <a:cxn ang="0">
                    <a:pos x="8" y="0"/>
                  </a:cxn>
                </a:cxnLst>
                <a:rect l="0" t="0" r="r" b="b"/>
                <a:pathLst>
                  <a:path w="38" h="29">
                    <a:moveTo>
                      <a:pt x="8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23" y="16"/>
                    </a:lnTo>
                    <a:lnTo>
                      <a:pt x="18" y="15"/>
                    </a:lnTo>
                    <a:lnTo>
                      <a:pt x="23" y="21"/>
                    </a:lnTo>
                    <a:lnTo>
                      <a:pt x="23" y="20"/>
                    </a:lnTo>
                    <a:lnTo>
                      <a:pt x="25" y="25"/>
                    </a:lnTo>
                    <a:lnTo>
                      <a:pt x="25" y="26"/>
                    </a:lnTo>
                    <a:lnTo>
                      <a:pt x="27" y="28"/>
                    </a:lnTo>
                    <a:lnTo>
                      <a:pt x="28" y="28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8"/>
                    </a:lnTo>
                    <a:lnTo>
                      <a:pt x="37" y="26"/>
                    </a:lnTo>
                    <a:lnTo>
                      <a:pt x="37" y="25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7" y="20"/>
                    </a:lnTo>
                    <a:lnTo>
                      <a:pt x="35" y="15"/>
                    </a:lnTo>
                    <a:lnTo>
                      <a:pt x="35" y="13"/>
                    </a:lnTo>
                    <a:lnTo>
                      <a:pt x="30" y="7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7" y="5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Freeform 49">
                <a:extLst>
                  <a:ext uri="{FF2B5EF4-FFF2-40B4-BE49-F238E27FC236}">
                    <a16:creationId xmlns:a16="http://schemas.microsoft.com/office/drawing/2014/main" id="{6F22A975-6F66-4325-A857-ECF3AF00820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30" y="2078"/>
                <a:ext cx="52" cy="19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4" y="11"/>
                  </a:cxn>
                  <a:cxn ang="0">
                    <a:pos x="5" y="13"/>
                  </a:cxn>
                  <a:cxn ang="0">
                    <a:pos x="35" y="16"/>
                  </a:cxn>
                  <a:cxn ang="0">
                    <a:pos x="37" y="16"/>
                  </a:cxn>
                  <a:cxn ang="0">
                    <a:pos x="38" y="15"/>
                  </a:cxn>
                  <a:cxn ang="0">
                    <a:pos x="40" y="15"/>
                  </a:cxn>
                  <a:cxn ang="0">
                    <a:pos x="42" y="13"/>
                  </a:cxn>
                  <a:cxn ang="0">
                    <a:pos x="42" y="11"/>
                  </a:cxn>
                  <a:cxn ang="0">
                    <a:pos x="43" y="10"/>
                  </a:cxn>
                  <a:cxn ang="0">
                    <a:pos x="43" y="8"/>
                  </a:cxn>
                  <a:cxn ang="0">
                    <a:pos x="42" y="7"/>
                  </a:cxn>
                  <a:cxn ang="0">
                    <a:pos x="42" y="5"/>
                  </a:cxn>
                  <a:cxn ang="0">
                    <a:pos x="40" y="3"/>
                  </a:cxn>
                  <a:cxn ang="0">
                    <a:pos x="37" y="3"/>
                  </a:cxn>
                  <a:cxn ang="0">
                    <a:pos x="7" y="0"/>
                  </a:cxn>
                </a:cxnLst>
                <a:rect l="0" t="0" r="r" b="b"/>
                <a:pathLst>
                  <a:path w="43" h="16">
                    <a:moveTo>
                      <a:pt x="7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35" y="16"/>
                    </a:lnTo>
                    <a:lnTo>
                      <a:pt x="37" y="16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2" y="13"/>
                    </a:lnTo>
                    <a:lnTo>
                      <a:pt x="42" y="11"/>
                    </a:lnTo>
                    <a:lnTo>
                      <a:pt x="43" y="10"/>
                    </a:lnTo>
                    <a:lnTo>
                      <a:pt x="43" y="8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37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Freeform 50">
                <a:extLst>
                  <a:ext uri="{FF2B5EF4-FFF2-40B4-BE49-F238E27FC236}">
                    <a16:creationId xmlns:a16="http://schemas.microsoft.com/office/drawing/2014/main" id="{ED7800FB-02F9-4EC2-8B1E-46DC839F16F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4" y="2091"/>
                <a:ext cx="34" cy="22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1" y="5"/>
                  </a:cxn>
                  <a:cxn ang="0">
                    <a:pos x="1" y="7"/>
                  </a:cxn>
                  <a:cxn ang="0">
                    <a:pos x="0" y="8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3" y="16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8" y="16"/>
                  </a:cxn>
                  <a:cxn ang="0">
                    <a:pos x="23" y="12"/>
                  </a:cxn>
                  <a:cxn ang="0">
                    <a:pos x="24" y="12"/>
                  </a:cxn>
                  <a:cxn ang="0">
                    <a:pos x="26" y="10"/>
                  </a:cxn>
                  <a:cxn ang="0">
                    <a:pos x="26" y="8"/>
                  </a:cxn>
                  <a:cxn ang="0">
                    <a:pos x="28" y="7"/>
                  </a:cxn>
                  <a:cxn ang="0">
                    <a:pos x="28" y="5"/>
                  </a:cxn>
                  <a:cxn ang="0">
                    <a:pos x="26" y="3"/>
                  </a:cxn>
                  <a:cxn ang="0">
                    <a:pos x="26" y="2"/>
                  </a:cxn>
                  <a:cxn ang="0">
                    <a:pos x="24" y="2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3" y="5"/>
                  </a:cxn>
                </a:cxnLst>
                <a:rect l="0" t="0" r="r" b="b"/>
                <a:pathLst>
                  <a:path w="28" h="18">
                    <a:moveTo>
                      <a:pt x="3" y="5"/>
                    </a:moveTo>
                    <a:lnTo>
                      <a:pt x="1" y="5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3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23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5" name="Freeform 51">
                <a:extLst>
                  <a:ext uri="{FF2B5EF4-FFF2-40B4-BE49-F238E27FC236}">
                    <a16:creationId xmlns:a16="http://schemas.microsoft.com/office/drawing/2014/main" id="{B18A838F-6042-4590-9D4C-AD0A18D16AD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9" y="2071"/>
                <a:ext cx="50" cy="110"/>
              </a:xfrm>
              <a:custGeom>
                <a:avLst/>
                <a:gdLst/>
                <a:ahLst/>
                <a:cxnLst>
                  <a:cxn ang="0">
                    <a:pos x="40" y="8"/>
                  </a:cxn>
                  <a:cxn ang="0">
                    <a:pos x="41" y="7"/>
                  </a:cxn>
                  <a:cxn ang="0">
                    <a:pos x="41" y="5"/>
                  </a:cxn>
                  <a:cxn ang="0">
                    <a:pos x="40" y="3"/>
                  </a:cxn>
                  <a:cxn ang="0">
                    <a:pos x="40" y="2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8" y="3"/>
                  </a:cxn>
                  <a:cxn ang="0">
                    <a:pos x="28" y="5"/>
                  </a:cxn>
                  <a:cxn ang="0">
                    <a:pos x="15" y="51"/>
                  </a:cxn>
                  <a:cxn ang="0">
                    <a:pos x="15" y="49"/>
                  </a:cxn>
                  <a:cxn ang="0">
                    <a:pos x="0" y="80"/>
                  </a:cxn>
                  <a:cxn ang="0">
                    <a:pos x="0" y="87"/>
                  </a:cxn>
                  <a:cxn ang="0">
                    <a:pos x="1" y="88"/>
                  </a:cxn>
                  <a:cxn ang="0">
                    <a:pos x="3" y="88"/>
                  </a:cxn>
                  <a:cxn ang="0">
                    <a:pos x="5" y="90"/>
                  </a:cxn>
                  <a:cxn ang="0">
                    <a:pos x="6" y="90"/>
                  </a:cxn>
                  <a:cxn ang="0">
                    <a:pos x="8" y="88"/>
                  </a:cxn>
                  <a:cxn ang="0">
                    <a:pos x="10" y="88"/>
                  </a:cxn>
                  <a:cxn ang="0">
                    <a:pos x="11" y="87"/>
                  </a:cxn>
                  <a:cxn ang="0">
                    <a:pos x="11" y="85"/>
                  </a:cxn>
                  <a:cxn ang="0">
                    <a:pos x="26" y="54"/>
                  </a:cxn>
                  <a:cxn ang="0">
                    <a:pos x="40" y="8"/>
                  </a:cxn>
                </a:cxnLst>
                <a:rect l="0" t="0" r="r" b="b"/>
                <a:pathLst>
                  <a:path w="41" h="90">
                    <a:moveTo>
                      <a:pt x="40" y="8"/>
                    </a:moveTo>
                    <a:lnTo>
                      <a:pt x="41" y="7"/>
                    </a:lnTo>
                    <a:lnTo>
                      <a:pt x="41" y="5"/>
                    </a:lnTo>
                    <a:lnTo>
                      <a:pt x="40" y="3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1" y="88"/>
                    </a:lnTo>
                    <a:lnTo>
                      <a:pt x="3" y="88"/>
                    </a:lnTo>
                    <a:lnTo>
                      <a:pt x="5" y="90"/>
                    </a:lnTo>
                    <a:lnTo>
                      <a:pt x="6" y="90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1" y="87"/>
                    </a:lnTo>
                    <a:lnTo>
                      <a:pt x="11" y="85"/>
                    </a:lnTo>
                    <a:lnTo>
                      <a:pt x="26" y="54"/>
                    </a:lnTo>
                    <a:lnTo>
                      <a:pt x="40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6" name="Freeform 52">
                <a:extLst>
                  <a:ext uri="{FF2B5EF4-FFF2-40B4-BE49-F238E27FC236}">
                    <a16:creationId xmlns:a16="http://schemas.microsoft.com/office/drawing/2014/main" id="{DC6E43AE-AE1C-4B69-8E3F-D982A2788E2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29" y="1948"/>
                <a:ext cx="47" cy="3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1" y="10"/>
                  </a:cxn>
                  <a:cxn ang="0">
                    <a:pos x="1" y="12"/>
                  </a:cxn>
                  <a:cxn ang="0">
                    <a:pos x="13" y="20"/>
                  </a:cxn>
                  <a:cxn ang="0">
                    <a:pos x="15" y="20"/>
                  </a:cxn>
                  <a:cxn ang="0">
                    <a:pos x="30" y="28"/>
                  </a:cxn>
                  <a:cxn ang="0">
                    <a:pos x="31" y="29"/>
                  </a:cxn>
                  <a:cxn ang="0">
                    <a:pos x="33" y="29"/>
                  </a:cxn>
                  <a:cxn ang="0">
                    <a:pos x="34" y="28"/>
                  </a:cxn>
                  <a:cxn ang="0">
                    <a:pos x="36" y="28"/>
                  </a:cxn>
                  <a:cxn ang="0">
                    <a:pos x="39" y="25"/>
                  </a:cxn>
                  <a:cxn ang="0">
                    <a:pos x="39" y="23"/>
                  </a:cxn>
                  <a:cxn ang="0">
                    <a:pos x="38" y="21"/>
                  </a:cxn>
                  <a:cxn ang="0">
                    <a:pos x="38" y="20"/>
                  </a:cxn>
                  <a:cxn ang="0">
                    <a:pos x="36" y="18"/>
                  </a:cxn>
                  <a:cxn ang="0">
                    <a:pos x="36" y="16"/>
                  </a:cxn>
                  <a:cxn ang="0">
                    <a:pos x="21" y="8"/>
                  </a:cxn>
                  <a:cxn ang="0">
                    <a:pos x="10" y="0"/>
                  </a:cxn>
                </a:cxnLst>
                <a:rect l="0" t="0" r="r" b="b"/>
                <a:pathLst>
                  <a:path w="39" h="29">
                    <a:moveTo>
                      <a:pt x="10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13" y="20"/>
                    </a:lnTo>
                    <a:lnTo>
                      <a:pt x="15" y="20"/>
                    </a:lnTo>
                    <a:lnTo>
                      <a:pt x="30" y="28"/>
                    </a:lnTo>
                    <a:lnTo>
                      <a:pt x="31" y="29"/>
                    </a:lnTo>
                    <a:lnTo>
                      <a:pt x="33" y="29"/>
                    </a:lnTo>
                    <a:lnTo>
                      <a:pt x="34" y="28"/>
                    </a:lnTo>
                    <a:lnTo>
                      <a:pt x="36" y="28"/>
                    </a:lnTo>
                    <a:lnTo>
                      <a:pt x="39" y="25"/>
                    </a:lnTo>
                    <a:lnTo>
                      <a:pt x="39" y="23"/>
                    </a:lnTo>
                    <a:lnTo>
                      <a:pt x="38" y="21"/>
                    </a:lnTo>
                    <a:lnTo>
                      <a:pt x="38" y="20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21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7" name="Freeform 53">
                <a:extLst>
                  <a:ext uri="{FF2B5EF4-FFF2-40B4-BE49-F238E27FC236}">
                    <a16:creationId xmlns:a16="http://schemas.microsoft.com/office/drawing/2014/main" id="{70008EC1-F242-48B4-808E-7D2A1125042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10" y="1989"/>
                <a:ext cx="207" cy="116"/>
              </a:xfrm>
              <a:custGeom>
                <a:avLst/>
                <a:gdLst/>
                <a:ahLst/>
                <a:cxnLst>
                  <a:cxn ang="0">
                    <a:pos x="5" y="82"/>
                  </a:cxn>
                  <a:cxn ang="0">
                    <a:pos x="4" y="82"/>
                  </a:cxn>
                  <a:cxn ang="0">
                    <a:pos x="0" y="85"/>
                  </a:cxn>
                  <a:cxn ang="0">
                    <a:pos x="0" y="91"/>
                  </a:cxn>
                  <a:cxn ang="0">
                    <a:pos x="2" y="91"/>
                  </a:cxn>
                  <a:cxn ang="0">
                    <a:pos x="4" y="93"/>
                  </a:cxn>
                  <a:cxn ang="0">
                    <a:pos x="5" y="93"/>
                  </a:cxn>
                  <a:cxn ang="0">
                    <a:pos x="7" y="95"/>
                  </a:cxn>
                  <a:cxn ang="0">
                    <a:pos x="9" y="95"/>
                  </a:cxn>
                  <a:cxn ang="0">
                    <a:pos x="22" y="91"/>
                  </a:cxn>
                  <a:cxn ang="0">
                    <a:pos x="22" y="90"/>
                  </a:cxn>
                  <a:cxn ang="0">
                    <a:pos x="62" y="70"/>
                  </a:cxn>
                  <a:cxn ang="0">
                    <a:pos x="63" y="70"/>
                  </a:cxn>
                  <a:cxn ang="0">
                    <a:pos x="83" y="55"/>
                  </a:cxn>
                  <a:cxn ang="0">
                    <a:pos x="85" y="54"/>
                  </a:cxn>
                  <a:cxn ang="0">
                    <a:pos x="100" y="36"/>
                  </a:cxn>
                  <a:cxn ang="0">
                    <a:pos x="98" y="37"/>
                  </a:cxn>
                  <a:cxn ang="0">
                    <a:pos x="123" y="20"/>
                  </a:cxn>
                  <a:cxn ang="0">
                    <a:pos x="121" y="20"/>
                  </a:cxn>
                  <a:cxn ang="0">
                    <a:pos x="138" y="13"/>
                  </a:cxn>
                  <a:cxn ang="0">
                    <a:pos x="136" y="15"/>
                  </a:cxn>
                  <a:cxn ang="0">
                    <a:pos x="151" y="13"/>
                  </a:cxn>
                  <a:cxn ang="0">
                    <a:pos x="150" y="13"/>
                  </a:cxn>
                  <a:cxn ang="0">
                    <a:pos x="158" y="15"/>
                  </a:cxn>
                  <a:cxn ang="0">
                    <a:pos x="156" y="13"/>
                  </a:cxn>
                  <a:cxn ang="0">
                    <a:pos x="160" y="15"/>
                  </a:cxn>
                  <a:cxn ang="0">
                    <a:pos x="161" y="16"/>
                  </a:cxn>
                  <a:cxn ang="0">
                    <a:pos x="163" y="16"/>
                  </a:cxn>
                  <a:cxn ang="0">
                    <a:pos x="165" y="15"/>
                  </a:cxn>
                  <a:cxn ang="0">
                    <a:pos x="166" y="15"/>
                  </a:cxn>
                  <a:cxn ang="0">
                    <a:pos x="168" y="13"/>
                  </a:cxn>
                  <a:cxn ang="0">
                    <a:pos x="168" y="11"/>
                  </a:cxn>
                  <a:cxn ang="0">
                    <a:pos x="170" y="10"/>
                  </a:cxn>
                  <a:cxn ang="0">
                    <a:pos x="170" y="8"/>
                  </a:cxn>
                  <a:cxn ang="0">
                    <a:pos x="168" y="6"/>
                  </a:cxn>
                  <a:cxn ang="0">
                    <a:pos x="168" y="5"/>
                  </a:cxn>
                  <a:cxn ang="0">
                    <a:pos x="166" y="5"/>
                  </a:cxn>
                  <a:cxn ang="0">
                    <a:pos x="165" y="3"/>
                  </a:cxn>
                  <a:cxn ang="0">
                    <a:pos x="161" y="2"/>
                  </a:cxn>
                  <a:cxn ang="0">
                    <a:pos x="160" y="2"/>
                  </a:cxn>
                  <a:cxn ang="0">
                    <a:pos x="151" y="0"/>
                  </a:cxn>
                  <a:cxn ang="0">
                    <a:pos x="150" y="0"/>
                  </a:cxn>
                  <a:cxn ang="0">
                    <a:pos x="135" y="2"/>
                  </a:cxn>
                  <a:cxn ang="0">
                    <a:pos x="133" y="2"/>
                  </a:cxn>
                  <a:cxn ang="0">
                    <a:pos x="117" y="8"/>
                  </a:cxn>
                  <a:cxn ang="0">
                    <a:pos x="115" y="8"/>
                  </a:cxn>
                  <a:cxn ang="0">
                    <a:pos x="90" y="26"/>
                  </a:cxn>
                  <a:cxn ang="0">
                    <a:pos x="90" y="28"/>
                  </a:cxn>
                  <a:cxn ang="0">
                    <a:pos x="75" y="46"/>
                  </a:cxn>
                  <a:cxn ang="0">
                    <a:pos x="75" y="44"/>
                  </a:cxn>
                  <a:cxn ang="0">
                    <a:pos x="55" y="59"/>
                  </a:cxn>
                  <a:cxn ang="0">
                    <a:pos x="57" y="59"/>
                  </a:cxn>
                  <a:cxn ang="0">
                    <a:pos x="17" y="78"/>
                  </a:cxn>
                  <a:cxn ang="0">
                    <a:pos x="19" y="78"/>
                  </a:cxn>
                  <a:cxn ang="0">
                    <a:pos x="5" y="82"/>
                  </a:cxn>
                </a:cxnLst>
                <a:rect l="0" t="0" r="r" b="b"/>
                <a:pathLst>
                  <a:path w="170" h="95">
                    <a:moveTo>
                      <a:pt x="5" y="82"/>
                    </a:moveTo>
                    <a:lnTo>
                      <a:pt x="4" y="82"/>
                    </a:lnTo>
                    <a:lnTo>
                      <a:pt x="0" y="85"/>
                    </a:lnTo>
                    <a:lnTo>
                      <a:pt x="0" y="91"/>
                    </a:lnTo>
                    <a:lnTo>
                      <a:pt x="2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7" y="95"/>
                    </a:lnTo>
                    <a:lnTo>
                      <a:pt x="9" y="95"/>
                    </a:lnTo>
                    <a:lnTo>
                      <a:pt x="22" y="91"/>
                    </a:lnTo>
                    <a:lnTo>
                      <a:pt x="22" y="90"/>
                    </a:lnTo>
                    <a:lnTo>
                      <a:pt x="62" y="70"/>
                    </a:lnTo>
                    <a:lnTo>
                      <a:pt x="63" y="70"/>
                    </a:lnTo>
                    <a:lnTo>
                      <a:pt x="83" y="55"/>
                    </a:lnTo>
                    <a:lnTo>
                      <a:pt x="85" y="54"/>
                    </a:lnTo>
                    <a:lnTo>
                      <a:pt x="100" y="36"/>
                    </a:lnTo>
                    <a:lnTo>
                      <a:pt x="98" y="37"/>
                    </a:lnTo>
                    <a:lnTo>
                      <a:pt x="123" y="20"/>
                    </a:lnTo>
                    <a:lnTo>
                      <a:pt x="121" y="20"/>
                    </a:lnTo>
                    <a:lnTo>
                      <a:pt x="138" y="13"/>
                    </a:lnTo>
                    <a:lnTo>
                      <a:pt x="136" y="15"/>
                    </a:lnTo>
                    <a:lnTo>
                      <a:pt x="151" y="13"/>
                    </a:lnTo>
                    <a:lnTo>
                      <a:pt x="150" y="13"/>
                    </a:lnTo>
                    <a:lnTo>
                      <a:pt x="158" y="15"/>
                    </a:lnTo>
                    <a:lnTo>
                      <a:pt x="156" y="13"/>
                    </a:lnTo>
                    <a:lnTo>
                      <a:pt x="160" y="15"/>
                    </a:lnTo>
                    <a:lnTo>
                      <a:pt x="161" y="16"/>
                    </a:lnTo>
                    <a:lnTo>
                      <a:pt x="163" y="16"/>
                    </a:lnTo>
                    <a:lnTo>
                      <a:pt x="165" y="15"/>
                    </a:lnTo>
                    <a:lnTo>
                      <a:pt x="166" y="15"/>
                    </a:lnTo>
                    <a:lnTo>
                      <a:pt x="168" y="13"/>
                    </a:lnTo>
                    <a:lnTo>
                      <a:pt x="168" y="11"/>
                    </a:lnTo>
                    <a:lnTo>
                      <a:pt x="170" y="10"/>
                    </a:lnTo>
                    <a:lnTo>
                      <a:pt x="170" y="8"/>
                    </a:lnTo>
                    <a:lnTo>
                      <a:pt x="168" y="6"/>
                    </a:lnTo>
                    <a:lnTo>
                      <a:pt x="168" y="5"/>
                    </a:lnTo>
                    <a:lnTo>
                      <a:pt x="166" y="5"/>
                    </a:lnTo>
                    <a:lnTo>
                      <a:pt x="165" y="3"/>
                    </a:lnTo>
                    <a:lnTo>
                      <a:pt x="161" y="2"/>
                    </a:lnTo>
                    <a:lnTo>
                      <a:pt x="160" y="2"/>
                    </a:lnTo>
                    <a:lnTo>
                      <a:pt x="151" y="0"/>
                    </a:lnTo>
                    <a:lnTo>
                      <a:pt x="150" y="0"/>
                    </a:lnTo>
                    <a:lnTo>
                      <a:pt x="135" y="2"/>
                    </a:lnTo>
                    <a:lnTo>
                      <a:pt x="133" y="2"/>
                    </a:lnTo>
                    <a:lnTo>
                      <a:pt x="117" y="8"/>
                    </a:lnTo>
                    <a:lnTo>
                      <a:pt x="115" y="8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75" y="46"/>
                    </a:lnTo>
                    <a:lnTo>
                      <a:pt x="75" y="44"/>
                    </a:lnTo>
                    <a:lnTo>
                      <a:pt x="55" y="59"/>
                    </a:lnTo>
                    <a:lnTo>
                      <a:pt x="57" y="59"/>
                    </a:lnTo>
                    <a:lnTo>
                      <a:pt x="17" y="78"/>
                    </a:lnTo>
                    <a:lnTo>
                      <a:pt x="19" y="78"/>
                    </a:lnTo>
                    <a:lnTo>
                      <a:pt x="5" y="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8" name="Freeform 54">
                <a:extLst>
                  <a:ext uri="{FF2B5EF4-FFF2-40B4-BE49-F238E27FC236}">
                    <a16:creationId xmlns:a16="http://schemas.microsoft.com/office/drawing/2014/main" id="{2130C742-12FF-48BF-8FFC-D15DE22D56E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85" y="2060"/>
                <a:ext cx="56" cy="114"/>
              </a:xfrm>
              <a:custGeom>
                <a:avLst/>
                <a:gdLst/>
                <a:ahLst/>
                <a:cxnLst>
                  <a:cxn ang="0">
                    <a:pos x="43" y="11"/>
                  </a:cxn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0"/>
                  </a:cxn>
                  <a:cxn ang="0">
                    <a:pos x="35" y="0"/>
                  </a:cxn>
                  <a:cxn ang="0">
                    <a:pos x="28" y="4"/>
                  </a:cxn>
                  <a:cxn ang="0">
                    <a:pos x="26" y="6"/>
                  </a:cxn>
                  <a:cxn ang="0">
                    <a:pos x="26" y="8"/>
                  </a:cxn>
                  <a:cxn ang="0">
                    <a:pos x="21" y="19"/>
                  </a:cxn>
                  <a:cxn ang="0">
                    <a:pos x="13" y="44"/>
                  </a:cxn>
                  <a:cxn ang="0">
                    <a:pos x="5" y="63"/>
                  </a:cxn>
                  <a:cxn ang="0">
                    <a:pos x="5" y="65"/>
                  </a:cxn>
                  <a:cxn ang="0">
                    <a:pos x="1" y="80"/>
                  </a:cxn>
                  <a:cxn ang="0">
                    <a:pos x="1" y="78"/>
                  </a:cxn>
                  <a:cxn ang="0">
                    <a:pos x="0" y="81"/>
                  </a:cxn>
                  <a:cxn ang="0">
                    <a:pos x="0" y="88"/>
                  </a:cxn>
                  <a:cxn ang="0">
                    <a:pos x="1" y="88"/>
                  </a:cxn>
                  <a:cxn ang="0">
                    <a:pos x="6" y="93"/>
                  </a:cxn>
                  <a:cxn ang="0">
                    <a:pos x="8" y="93"/>
                  </a:cxn>
                  <a:cxn ang="0">
                    <a:pos x="10" y="94"/>
                  </a:cxn>
                  <a:cxn ang="0">
                    <a:pos x="11" y="93"/>
                  </a:cxn>
                  <a:cxn ang="0">
                    <a:pos x="13" y="93"/>
                  </a:cxn>
                  <a:cxn ang="0">
                    <a:pos x="13" y="91"/>
                  </a:cxn>
                  <a:cxn ang="0">
                    <a:pos x="15" y="91"/>
                  </a:cxn>
                  <a:cxn ang="0">
                    <a:pos x="15" y="89"/>
                  </a:cxn>
                  <a:cxn ang="0">
                    <a:pos x="16" y="88"/>
                  </a:cxn>
                  <a:cxn ang="0">
                    <a:pos x="15" y="86"/>
                  </a:cxn>
                  <a:cxn ang="0">
                    <a:pos x="15" y="84"/>
                  </a:cxn>
                  <a:cxn ang="0">
                    <a:pos x="13" y="83"/>
                  </a:cxn>
                  <a:cxn ang="0">
                    <a:pos x="10" y="80"/>
                  </a:cxn>
                  <a:cxn ang="0">
                    <a:pos x="11" y="86"/>
                  </a:cxn>
                  <a:cxn ang="0">
                    <a:pos x="13" y="83"/>
                  </a:cxn>
                  <a:cxn ang="0">
                    <a:pos x="15" y="81"/>
                  </a:cxn>
                  <a:cxn ang="0">
                    <a:pos x="18" y="66"/>
                  </a:cxn>
                  <a:cxn ang="0">
                    <a:pos x="16" y="68"/>
                  </a:cxn>
                  <a:cxn ang="0">
                    <a:pos x="25" y="49"/>
                  </a:cxn>
                  <a:cxn ang="0">
                    <a:pos x="33" y="24"/>
                  </a:cxn>
                  <a:cxn ang="0">
                    <a:pos x="38" y="13"/>
                  </a:cxn>
                  <a:cxn ang="0">
                    <a:pos x="36" y="16"/>
                  </a:cxn>
                  <a:cxn ang="0">
                    <a:pos x="43" y="11"/>
                  </a:cxn>
                </a:cxnLst>
                <a:rect l="0" t="0" r="r" b="b"/>
                <a:pathLst>
                  <a:path w="46" h="94">
                    <a:moveTo>
                      <a:pt x="43" y="11"/>
                    </a:moveTo>
                    <a:lnTo>
                      <a:pt x="45" y="9"/>
                    </a:ln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0"/>
                    </a:lnTo>
                    <a:lnTo>
                      <a:pt x="35" y="0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1" y="19"/>
                    </a:lnTo>
                    <a:lnTo>
                      <a:pt x="13" y="44"/>
                    </a:lnTo>
                    <a:lnTo>
                      <a:pt x="5" y="63"/>
                    </a:lnTo>
                    <a:lnTo>
                      <a:pt x="5" y="65"/>
                    </a:lnTo>
                    <a:lnTo>
                      <a:pt x="1" y="80"/>
                    </a:lnTo>
                    <a:lnTo>
                      <a:pt x="1" y="78"/>
                    </a:lnTo>
                    <a:lnTo>
                      <a:pt x="0" y="81"/>
                    </a:lnTo>
                    <a:lnTo>
                      <a:pt x="0" y="88"/>
                    </a:lnTo>
                    <a:lnTo>
                      <a:pt x="1" y="88"/>
                    </a:lnTo>
                    <a:lnTo>
                      <a:pt x="6" y="93"/>
                    </a:lnTo>
                    <a:lnTo>
                      <a:pt x="8" y="93"/>
                    </a:lnTo>
                    <a:lnTo>
                      <a:pt x="10" y="94"/>
                    </a:lnTo>
                    <a:lnTo>
                      <a:pt x="11" y="93"/>
                    </a:lnTo>
                    <a:lnTo>
                      <a:pt x="13" y="93"/>
                    </a:lnTo>
                    <a:lnTo>
                      <a:pt x="13" y="91"/>
                    </a:lnTo>
                    <a:lnTo>
                      <a:pt x="15" y="91"/>
                    </a:lnTo>
                    <a:lnTo>
                      <a:pt x="15" y="89"/>
                    </a:lnTo>
                    <a:lnTo>
                      <a:pt x="16" y="88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3" y="83"/>
                    </a:lnTo>
                    <a:lnTo>
                      <a:pt x="10" y="80"/>
                    </a:lnTo>
                    <a:lnTo>
                      <a:pt x="11" y="86"/>
                    </a:lnTo>
                    <a:lnTo>
                      <a:pt x="13" y="83"/>
                    </a:lnTo>
                    <a:lnTo>
                      <a:pt x="15" y="81"/>
                    </a:lnTo>
                    <a:lnTo>
                      <a:pt x="18" y="66"/>
                    </a:lnTo>
                    <a:lnTo>
                      <a:pt x="16" y="68"/>
                    </a:lnTo>
                    <a:lnTo>
                      <a:pt x="25" y="49"/>
                    </a:lnTo>
                    <a:lnTo>
                      <a:pt x="33" y="24"/>
                    </a:lnTo>
                    <a:lnTo>
                      <a:pt x="38" y="13"/>
                    </a:lnTo>
                    <a:lnTo>
                      <a:pt x="36" y="16"/>
                    </a:lnTo>
                    <a:lnTo>
                      <a:pt x="43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9" name="Freeform 55">
                <a:extLst>
                  <a:ext uri="{FF2B5EF4-FFF2-40B4-BE49-F238E27FC236}">
                    <a16:creationId xmlns:a16="http://schemas.microsoft.com/office/drawing/2014/main" id="{DC21EC4C-FA82-45BB-83E7-5432A3CCB36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95" y="1936"/>
                <a:ext cx="68" cy="38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2" y="29"/>
                  </a:cxn>
                  <a:cxn ang="0">
                    <a:pos x="3" y="29"/>
                  </a:cxn>
                  <a:cxn ang="0">
                    <a:pos x="5" y="31"/>
                  </a:cxn>
                  <a:cxn ang="0">
                    <a:pos x="7" y="31"/>
                  </a:cxn>
                  <a:cxn ang="0">
                    <a:pos x="8" y="29"/>
                  </a:cxn>
                  <a:cxn ang="0">
                    <a:pos x="10" y="29"/>
                  </a:cxn>
                  <a:cxn ang="0">
                    <a:pos x="12" y="28"/>
                  </a:cxn>
                  <a:cxn ang="0">
                    <a:pos x="15" y="23"/>
                  </a:cxn>
                  <a:cxn ang="0">
                    <a:pos x="13" y="25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30" y="16"/>
                  </a:cxn>
                  <a:cxn ang="0">
                    <a:pos x="30" y="18"/>
                  </a:cxn>
                  <a:cxn ang="0">
                    <a:pos x="51" y="13"/>
                  </a:cxn>
                  <a:cxn ang="0">
                    <a:pos x="55" y="10"/>
                  </a:cxn>
                  <a:cxn ang="0">
                    <a:pos x="55" y="8"/>
                  </a:cxn>
                  <a:cxn ang="0">
                    <a:pos x="56" y="7"/>
                  </a:cxn>
                  <a:cxn ang="0">
                    <a:pos x="56" y="5"/>
                  </a:cxn>
                  <a:cxn ang="0">
                    <a:pos x="55" y="3"/>
                  </a:cxn>
                  <a:cxn ang="0">
                    <a:pos x="55" y="2"/>
                  </a:cxn>
                  <a:cxn ang="0">
                    <a:pos x="53" y="0"/>
                  </a:cxn>
                  <a:cxn ang="0">
                    <a:pos x="48" y="0"/>
                  </a:cxn>
                  <a:cxn ang="0">
                    <a:pos x="27" y="5"/>
                  </a:cxn>
                  <a:cxn ang="0">
                    <a:pos x="25" y="5"/>
                  </a:cxn>
                  <a:cxn ang="0">
                    <a:pos x="15" y="8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0" y="20"/>
                  </a:cxn>
                </a:cxnLst>
                <a:rect l="0" t="0" r="r" b="b"/>
                <a:pathLst>
                  <a:path w="56" h="31">
                    <a:moveTo>
                      <a:pt x="0" y="20"/>
                    </a:moveTo>
                    <a:lnTo>
                      <a:pt x="0" y="26"/>
                    </a:lnTo>
                    <a:lnTo>
                      <a:pt x="2" y="28"/>
                    </a:lnTo>
                    <a:lnTo>
                      <a:pt x="2" y="29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7" y="31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5" y="23"/>
                    </a:lnTo>
                    <a:lnTo>
                      <a:pt x="13" y="25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51" y="13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6" y="7"/>
                    </a:lnTo>
                    <a:lnTo>
                      <a:pt x="56" y="5"/>
                    </a:lnTo>
                    <a:lnTo>
                      <a:pt x="55" y="3"/>
                    </a:lnTo>
                    <a:lnTo>
                      <a:pt x="55" y="2"/>
                    </a:lnTo>
                    <a:lnTo>
                      <a:pt x="53" y="0"/>
                    </a:lnTo>
                    <a:lnTo>
                      <a:pt x="48" y="0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15" y="8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0" name="Freeform 56">
                <a:extLst>
                  <a:ext uri="{FF2B5EF4-FFF2-40B4-BE49-F238E27FC236}">
                    <a16:creationId xmlns:a16="http://schemas.microsoft.com/office/drawing/2014/main" id="{97821B01-2ED8-434F-BD48-C0ECA51E591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42" y="1901"/>
                <a:ext cx="71" cy="83"/>
              </a:xfrm>
              <a:custGeom>
                <a:avLst/>
                <a:gdLst/>
                <a:ahLst/>
                <a:cxnLst>
                  <a:cxn ang="0">
                    <a:pos x="49" y="67"/>
                  </a:cxn>
                  <a:cxn ang="0">
                    <a:pos x="50" y="68"/>
                  </a:cxn>
                  <a:cxn ang="0">
                    <a:pos x="52" y="68"/>
                  </a:cxn>
                  <a:cxn ang="0">
                    <a:pos x="54" y="67"/>
                  </a:cxn>
                  <a:cxn ang="0">
                    <a:pos x="55" y="67"/>
                  </a:cxn>
                  <a:cxn ang="0">
                    <a:pos x="57" y="65"/>
                  </a:cxn>
                  <a:cxn ang="0">
                    <a:pos x="57" y="64"/>
                  </a:cxn>
                  <a:cxn ang="0">
                    <a:pos x="59" y="62"/>
                  </a:cxn>
                  <a:cxn ang="0">
                    <a:pos x="59" y="60"/>
                  </a:cxn>
                  <a:cxn ang="0">
                    <a:pos x="57" y="59"/>
                  </a:cxn>
                  <a:cxn ang="0">
                    <a:pos x="57" y="57"/>
                  </a:cxn>
                  <a:cxn ang="0">
                    <a:pos x="55" y="57"/>
                  </a:cxn>
                  <a:cxn ang="0">
                    <a:pos x="54" y="55"/>
                  </a:cxn>
                  <a:cxn ang="0">
                    <a:pos x="39" y="49"/>
                  </a:cxn>
                  <a:cxn ang="0">
                    <a:pos x="40" y="49"/>
                  </a:cxn>
                  <a:cxn ang="0">
                    <a:pos x="29" y="41"/>
                  </a:cxn>
                  <a:cxn ang="0">
                    <a:pos x="32" y="47"/>
                  </a:cxn>
                  <a:cxn ang="0">
                    <a:pos x="32" y="34"/>
                  </a:cxn>
                  <a:cxn ang="0">
                    <a:pos x="30" y="33"/>
                  </a:cxn>
                  <a:cxn ang="0">
                    <a:pos x="30" y="31"/>
                  </a:cxn>
                  <a:cxn ang="0">
                    <a:pos x="24" y="20"/>
                  </a:cxn>
                  <a:cxn ang="0">
                    <a:pos x="19" y="11"/>
                  </a:cxn>
                  <a:cxn ang="0">
                    <a:pos x="19" y="10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9" y="18"/>
                  </a:cxn>
                  <a:cxn ang="0">
                    <a:pos x="7" y="18"/>
                  </a:cxn>
                  <a:cxn ang="0">
                    <a:pos x="12" y="26"/>
                  </a:cxn>
                  <a:cxn ang="0">
                    <a:pos x="19" y="38"/>
                  </a:cxn>
                  <a:cxn ang="0">
                    <a:pos x="19" y="34"/>
                  </a:cxn>
                  <a:cxn ang="0">
                    <a:pos x="19" y="49"/>
                  </a:cxn>
                  <a:cxn ang="0">
                    <a:pos x="20" y="51"/>
                  </a:cxn>
                  <a:cxn ang="0">
                    <a:pos x="20" y="52"/>
                  </a:cxn>
                  <a:cxn ang="0">
                    <a:pos x="32" y="60"/>
                  </a:cxn>
                  <a:cxn ang="0">
                    <a:pos x="34" y="60"/>
                  </a:cxn>
                  <a:cxn ang="0">
                    <a:pos x="49" y="67"/>
                  </a:cxn>
                </a:cxnLst>
                <a:rect l="0" t="0" r="r" b="b"/>
                <a:pathLst>
                  <a:path w="59" h="68">
                    <a:moveTo>
                      <a:pt x="49" y="67"/>
                    </a:moveTo>
                    <a:lnTo>
                      <a:pt x="50" y="68"/>
                    </a:lnTo>
                    <a:lnTo>
                      <a:pt x="52" y="68"/>
                    </a:lnTo>
                    <a:lnTo>
                      <a:pt x="54" y="67"/>
                    </a:lnTo>
                    <a:lnTo>
                      <a:pt x="55" y="67"/>
                    </a:lnTo>
                    <a:lnTo>
                      <a:pt x="57" y="65"/>
                    </a:lnTo>
                    <a:lnTo>
                      <a:pt x="57" y="64"/>
                    </a:lnTo>
                    <a:lnTo>
                      <a:pt x="59" y="62"/>
                    </a:lnTo>
                    <a:lnTo>
                      <a:pt x="59" y="60"/>
                    </a:lnTo>
                    <a:lnTo>
                      <a:pt x="57" y="59"/>
                    </a:lnTo>
                    <a:lnTo>
                      <a:pt x="57" y="57"/>
                    </a:lnTo>
                    <a:lnTo>
                      <a:pt x="55" y="57"/>
                    </a:lnTo>
                    <a:lnTo>
                      <a:pt x="54" y="55"/>
                    </a:lnTo>
                    <a:lnTo>
                      <a:pt x="39" y="49"/>
                    </a:lnTo>
                    <a:lnTo>
                      <a:pt x="40" y="49"/>
                    </a:lnTo>
                    <a:lnTo>
                      <a:pt x="29" y="41"/>
                    </a:lnTo>
                    <a:lnTo>
                      <a:pt x="32" y="47"/>
                    </a:lnTo>
                    <a:lnTo>
                      <a:pt x="32" y="34"/>
                    </a:lnTo>
                    <a:lnTo>
                      <a:pt x="30" y="33"/>
                    </a:lnTo>
                    <a:lnTo>
                      <a:pt x="30" y="31"/>
                    </a:lnTo>
                    <a:lnTo>
                      <a:pt x="24" y="20"/>
                    </a:lnTo>
                    <a:lnTo>
                      <a:pt x="19" y="11"/>
                    </a:lnTo>
                    <a:lnTo>
                      <a:pt x="19" y="1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12" y="26"/>
                    </a:lnTo>
                    <a:lnTo>
                      <a:pt x="19" y="38"/>
                    </a:lnTo>
                    <a:lnTo>
                      <a:pt x="19" y="34"/>
                    </a:lnTo>
                    <a:lnTo>
                      <a:pt x="19" y="49"/>
                    </a:lnTo>
                    <a:lnTo>
                      <a:pt x="20" y="51"/>
                    </a:lnTo>
                    <a:lnTo>
                      <a:pt x="20" y="52"/>
                    </a:lnTo>
                    <a:lnTo>
                      <a:pt x="32" y="60"/>
                    </a:lnTo>
                    <a:lnTo>
                      <a:pt x="34" y="60"/>
                    </a:lnTo>
                    <a:lnTo>
                      <a:pt x="49" y="6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1" name="Freeform 57">
                <a:extLst>
                  <a:ext uri="{FF2B5EF4-FFF2-40B4-BE49-F238E27FC236}">
                    <a16:creationId xmlns:a16="http://schemas.microsoft.com/office/drawing/2014/main" id="{24343A74-6ED4-4CAD-9CFB-8FBF58C1DEF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366" y="1989"/>
                <a:ext cx="88" cy="19"/>
              </a:xfrm>
              <a:custGeom>
                <a:avLst/>
                <a:gdLst/>
                <a:ahLst/>
                <a:cxnLst>
                  <a:cxn ang="0">
                    <a:pos x="65" y="13"/>
                  </a:cxn>
                  <a:cxn ang="0">
                    <a:pos x="67" y="11"/>
                  </a:cxn>
                  <a:cxn ang="0">
                    <a:pos x="68" y="11"/>
                  </a:cxn>
                  <a:cxn ang="0">
                    <a:pos x="70" y="10"/>
                  </a:cxn>
                  <a:cxn ang="0">
                    <a:pos x="70" y="8"/>
                  </a:cxn>
                  <a:cxn ang="0">
                    <a:pos x="72" y="7"/>
                  </a:cxn>
                  <a:cxn ang="0">
                    <a:pos x="72" y="5"/>
                  </a:cxn>
                  <a:cxn ang="0">
                    <a:pos x="70" y="3"/>
                  </a:cxn>
                  <a:cxn ang="0">
                    <a:pos x="70" y="2"/>
                  </a:cxn>
                  <a:cxn ang="0">
                    <a:pos x="68" y="2"/>
                  </a:cxn>
                  <a:cxn ang="0">
                    <a:pos x="67" y="0"/>
                  </a:cxn>
                  <a:cxn ang="0">
                    <a:pos x="63" y="0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65" y="13"/>
                  </a:cxn>
                </a:cxnLst>
                <a:rect l="0" t="0" r="r" b="b"/>
                <a:pathLst>
                  <a:path w="72" h="16">
                    <a:moveTo>
                      <a:pt x="65" y="13"/>
                    </a:moveTo>
                    <a:lnTo>
                      <a:pt x="67" y="11"/>
                    </a:lnTo>
                    <a:lnTo>
                      <a:pt x="68" y="11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2" y="7"/>
                    </a:lnTo>
                    <a:lnTo>
                      <a:pt x="72" y="5"/>
                    </a:lnTo>
                    <a:lnTo>
                      <a:pt x="70" y="3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7" y="0"/>
                    </a:lnTo>
                    <a:lnTo>
                      <a:pt x="63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65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:a16="http://schemas.microsoft.com/office/drawing/2014/main" id="{B9E5A70B-6BD5-4AAA-8ECA-B2F47C1FE77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43" y="1285"/>
                <a:ext cx="814" cy="559"/>
              </a:xfrm>
              <a:custGeom>
                <a:avLst/>
                <a:gdLst/>
                <a:ahLst/>
                <a:cxnLst>
                  <a:cxn ang="0">
                    <a:pos x="663" y="23"/>
                  </a:cxn>
                  <a:cxn ang="0">
                    <a:pos x="666" y="21"/>
                  </a:cxn>
                  <a:cxn ang="0">
                    <a:pos x="668" y="18"/>
                  </a:cxn>
                  <a:cxn ang="0">
                    <a:pos x="670" y="15"/>
                  </a:cxn>
                  <a:cxn ang="0">
                    <a:pos x="668" y="11"/>
                  </a:cxn>
                  <a:cxn ang="0">
                    <a:pos x="663" y="10"/>
                  </a:cxn>
                  <a:cxn ang="0">
                    <a:pos x="610" y="6"/>
                  </a:cxn>
                  <a:cxn ang="0">
                    <a:pos x="487" y="0"/>
                  </a:cxn>
                  <a:cxn ang="0">
                    <a:pos x="351" y="1"/>
                  </a:cxn>
                  <a:cxn ang="0">
                    <a:pos x="221" y="11"/>
                  </a:cxn>
                  <a:cxn ang="0">
                    <a:pos x="173" y="21"/>
                  </a:cxn>
                  <a:cxn ang="0">
                    <a:pos x="107" y="44"/>
                  </a:cxn>
                  <a:cxn ang="0">
                    <a:pos x="83" y="59"/>
                  </a:cxn>
                  <a:cxn ang="0">
                    <a:pos x="72" y="73"/>
                  </a:cxn>
                  <a:cxn ang="0">
                    <a:pos x="60" y="93"/>
                  </a:cxn>
                  <a:cxn ang="0">
                    <a:pos x="29" y="166"/>
                  </a:cxn>
                  <a:cxn ang="0">
                    <a:pos x="20" y="204"/>
                  </a:cxn>
                  <a:cxn ang="0">
                    <a:pos x="7" y="274"/>
                  </a:cxn>
                  <a:cxn ang="0">
                    <a:pos x="12" y="285"/>
                  </a:cxn>
                  <a:cxn ang="0">
                    <a:pos x="7" y="305"/>
                  </a:cxn>
                  <a:cxn ang="0">
                    <a:pos x="0" y="429"/>
                  </a:cxn>
                  <a:cxn ang="0">
                    <a:pos x="2" y="455"/>
                  </a:cxn>
                  <a:cxn ang="0">
                    <a:pos x="5" y="456"/>
                  </a:cxn>
                  <a:cxn ang="0">
                    <a:pos x="9" y="458"/>
                  </a:cxn>
                  <a:cxn ang="0">
                    <a:pos x="12" y="456"/>
                  </a:cxn>
                  <a:cxn ang="0">
                    <a:pos x="14" y="453"/>
                  </a:cxn>
                  <a:cxn ang="0">
                    <a:pos x="15" y="450"/>
                  </a:cxn>
                  <a:cxn ang="0">
                    <a:pos x="14" y="429"/>
                  </a:cxn>
                  <a:cxn ang="0">
                    <a:pos x="20" y="306"/>
                  </a:cxn>
                  <a:cxn ang="0">
                    <a:pos x="25" y="280"/>
                  </a:cxn>
                  <a:cxn ang="0">
                    <a:pos x="24" y="277"/>
                  </a:cxn>
                  <a:cxn ang="0">
                    <a:pos x="20" y="275"/>
                  </a:cxn>
                  <a:cxn ang="0">
                    <a:pos x="34" y="205"/>
                  </a:cxn>
                  <a:cxn ang="0">
                    <a:pos x="42" y="171"/>
                  </a:cxn>
                  <a:cxn ang="0">
                    <a:pos x="55" y="134"/>
                  </a:cxn>
                  <a:cxn ang="0">
                    <a:pos x="72" y="99"/>
                  </a:cxn>
                  <a:cxn ang="0">
                    <a:pos x="93" y="68"/>
                  </a:cxn>
                  <a:cxn ang="0">
                    <a:pos x="113" y="55"/>
                  </a:cxn>
                  <a:cxn ang="0">
                    <a:pos x="137" y="46"/>
                  </a:cxn>
                  <a:cxn ang="0">
                    <a:pos x="176" y="34"/>
                  </a:cxn>
                  <a:cxn ang="0">
                    <a:pos x="283" y="19"/>
                  </a:cxn>
                  <a:cxn ang="0">
                    <a:pos x="487" y="13"/>
                  </a:cxn>
                  <a:cxn ang="0">
                    <a:pos x="573" y="15"/>
                  </a:cxn>
                  <a:cxn ang="0">
                    <a:pos x="623" y="21"/>
                  </a:cxn>
                </a:cxnLst>
                <a:rect l="0" t="0" r="r" b="b"/>
                <a:pathLst>
                  <a:path w="670" h="458">
                    <a:moveTo>
                      <a:pt x="661" y="23"/>
                    </a:moveTo>
                    <a:lnTo>
                      <a:pt x="663" y="23"/>
                    </a:lnTo>
                    <a:lnTo>
                      <a:pt x="665" y="21"/>
                    </a:lnTo>
                    <a:lnTo>
                      <a:pt x="666" y="21"/>
                    </a:lnTo>
                    <a:lnTo>
                      <a:pt x="668" y="19"/>
                    </a:lnTo>
                    <a:lnTo>
                      <a:pt x="668" y="18"/>
                    </a:lnTo>
                    <a:lnTo>
                      <a:pt x="670" y="16"/>
                    </a:lnTo>
                    <a:lnTo>
                      <a:pt x="670" y="15"/>
                    </a:lnTo>
                    <a:lnTo>
                      <a:pt x="668" y="13"/>
                    </a:lnTo>
                    <a:lnTo>
                      <a:pt x="668" y="11"/>
                    </a:lnTo>
                    <a:lnTo>
                      <a:pt x="666" y="10"/>
                    </a:lnTo>
                    <a:lnTo>
                      <a:pt x="663" y="10"/>
                    </a:lnTo>
                    <a:lnTo>
                      <a:pt x="625" y="8"/>
                    </a:lnTo>
                    <a:lnTo>
                      <a:pt x="610" y="6"/>
                    </a:lnTo>
                    <a:lnTo>
                      <a:pt x="575" y="1"/>
                    </a:lnTo>
                    <a:lnTo>
                      <a:pt x="487" y="0"/>
                    </a:lnTo>
                    <a:lnTo>
                      <a:pt x="352" y="1"/>
                    </a:lnTo>
                    <a:lnTo>
                      <a:pt x="351" y="1"/>
                    </a:lnTo>
                    <a:lnTo>
                      <a:pt x="281" y="6"/>
                    </a:lnTo>
                    <a:lnTo>
                      <a:pt x="221" y="11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32" y="34"/>
                    </a:lnTo>
                    <a:lnTo>
                      <a:pt x="107" y="44"/>
                    </a:lnTo>
                    <a:lnTo>
                      <a:pt x="105" y="44"/>
                    </a:lnTo>
                    <a:lnTo>
                      <a:pt x="83" y="59"/>
                    </a:lnTo>
                    <a:lnTo>
                      <a:pt x="83" y="60"/>
                    </a:lnTo>
                    <a:lnTo>
                      <a:pt x="72" y="73"/>
                    </a:lnTo>
                    <a:lnTo>
                      <a:pt x="70" y="75"/>
                    </a:lnTo>
                    <a:lnTo>
                      <a:pt x="60" y="93"/>
                    </a:lnTo>
                    <a:lnTo>
                      <a:pt x="44" y="129"/>
                    </a:lnTo>
                    <a:lnTo>
                      <a:pt x="29" y="166"/>
                    </a:lnTo>
                    <a:lnTo>
                      <a:pt x="29" y="168"/>
                    </a:lnTo>
                    <a:lnTo>
                      <a:pt x="20" y="204"/>
                    </a:lnTo>
                    <a:lnTo>
                      <a:pt x="10" y="248"/>
                    </a:lnTo>
                    <a:lnTo>
                      <a:pt x="7" y="274"/>
                    </a:lnTo>
                    <a:lnTo>
                      <a:pt x="7" y="279"/>
                    </a:lnTo>
                    <a:lnTo>
                      <a:pt x="12" y="285"/>
                    </a:lnTo>
                    <a:lnTo>
                      <a:pt x="12" y="280"/>
                    </a:lnTo>
                    <a:lnTo>
                      <a:pt x="7" y="305"/>
                    </a:lnTo>
                    <a:lnTo>
                      <a:pt x="0" y="372"/>
                    </a:lnTo>
                    <a:lnTo>
                      <a:pt x="0" y="429"/>
                    </a:lnTo>
                    <a:lnTo>
                      <a:pt x="2" y="452"/>
                    </a:lnTo>
                    <a:lnTo>
                      <a:pt x="2" y="455"/>
                    </a:lnTo>
                    <a:lnTo>
                      <a:pt x="4" y="456"/>
                    </a:lnTo>
                    <a:lnTo>
                      <a:pt x="5" y="456"/>
                    </a:lnTo>
                    <a:lnTo>
                      <a:pt x="7" y="458"/>
                    </a:lnTo>
                    <a:lnTo>
                      <a:pt x="9" y="458"/>
                    </a:lnTo>
                    <a:lnTo>
                      <a:pt x="10" y="456"/>
                    </a:lnTo>
                    <a:lnTo>
                      <a:pt x="12" y="456"/>
                    </a:lnTo>
                    <a:lnTo>
                      <a:pt x="14" y="455"/>
                    </a:lnTo>
                    <a:lnTo>
                      <a:pt x="14" y="453"/>
                    </a:lnTo>
                    <a:lnTo>
                      <a:pt x="15" y="452"/>
                    </a:lnTo>
                    <a:lnTo>
                      <a:pt x="15" y="450"/>
                    </a:lnTo>
                    <a:lnTo>
                      <a:pt x="14" y="427"/>
                    </a:lnTo>
                    <a:lnTo>
                      <a:pt x="14" y="429"/>
                    </a:lnTo>
                    <a:lnTo>
                      <a:pt x="14" y="373"/>
                    </a:lnTo>
                    <a:lnTo>
                      <a:pt x="20" y="306"/>
                    </a:lnTo>
                    <a:lnTo>
                      <a:pt x="25" y="282"/>
                    </a:lnTo>
                    <a:lnTo>
                      <a:pt x="25" y="280"/>
                    </a:lnTo>
                    <a:lnTo>
                      <a:pt x="24" y="279"/>
                    </a:lnTo>
                    <a:lnTo>
                      <a:pt x="24" y="277"/>
                    </a:lnTo>
                    <a:lnTo>
                      <a:pt x="19" y="271"/>
                    </a:lnTo>
                    <a:lnTo>
                      <a:pt x="20" y="275"/>
                    </a:lnTo>
                    <a:lnTo>
                      <a:pt x="24" y="249"/>
                    </a:lnTo>
                    <a:lnTo>
                      <a:pt x="34" y="205"/>
                    </a:lnTo>
                    <a:lnTo>
                      <a:pt x="34" y="207"/>
                    </a:lnTo>
                    <a:lnTo>
                      <a:pt x="42" y="171"/>
                    </a:lnTo>
                    <a:lnTo>
                      <a:pt x="40" y="171"/>
                    </a:lnTo>
                    <a:lnTo>
                      <a:pt x="55" y="134"/>
                    </a:lnTo>
                    <a:lnTo>
                      <a:pt x="72" y="98"/>
                    </a:lnTo>
                    <a:lnTo>
                      <a:pt x="72" y="99"/>
                    </a:lnTo>
                    <a:lnTo>
                      <a:pt x="82" y="81"/>
                    </a:lnTo>
                    <a:lnTo>
                      <a:pt x="93" y="68"/>
                    </a:lnTo>
                    <a:lnTo>
                      <a:pt x="92" y="70"/>
                    </a:lnTo>
                    <a:lnTo>
                      <a:pt x="113" y="55"/>
                    </a:lnTo>
                    <a:lnTo>
                      <a:pt x="112" y="55"/>
                    </a:lnTo>
                    <a:lnTo>
                      <a:pt x="137" y="46"/>
                    </a:lnTo>
                    <a:lnTo>
                      <a:pt x="178" y="32"/>
                    </a:lnTo>
                    <a:lnTo>
                      <a:pt x="176" y="34"/>
                    </a:lnTo>
                    <a:lnTo>
                      <a:pt x="223" y="24"/>
                    </a:lnTo>
                    <a:lnTo>
                      <a:pt x="283" y="19"/>
                    </a:lnTo>
                    <a:lnTo>
                      <a:pt x="352" y="15"/>
                    </a:lnTo>
                    <a:lnTo>
                      <a:pt x="487" y="13"/>
                    </a:lnTo>
                    <a:lnTo>
                      <a:pt x="575" y="15"/>
                    </a:lnTo>
                    <a:lnTo>
                      <a:pt x="573" y="15"/>
                    </a:lnTo>
                    <a:lnTo>
                      <a:pt x="608" y="19"/>
                    </a:lnTo>
                    <a:lnTo>
                      <a:pt x="623" y="21"/>
                    </a:lnTo>
                    <a:lnTo>
                      <a:pt x="661" y="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:a16="http://schemas.microsoft.com/office/drawing/2014/main" id="{5CDC053B-D0A8-4B39-8229-9919A9CD018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94" y="1677"/>
                <a:ext cx="424" cy="32"/>
              </a:xfrm>
              <a:custGeom>
                <a:avLst/>
                <a:gdLst/>
                <a:ahLst/>
                <a:cxnLst>
                  <a:cxn ang="0">
                    <a:pos x="342" y="13"/>
                  </a:cxn>
                  <a:cxn ang="0">
                    <a:pos x="344" y="12"/>
                  </a:cxn>
                  <a:cxn ang="0">
                    <a:pos x="345" y="12"/>
                  </a:cxn>
                  <a:cxn ang="0">
                    <a:pos x="347" y="10"/>
                  </a:cxn>
                  <a:cxn ang="0">
                    <a:pos x="347" y="9"/>
                  </a:cxn>
                  <a:cxn ang="0">
                    <a:pos x="349" y="7"/>
                  </a:cxn>
                  <a:cxn ang="0">
                    <a:pos x="349" y="5"/>
                  </a:cxn>
                  <a:cxn ang="0">
                    <a:pos x="347" y="4"/>
                  </a:cxn>
                  <a:cxn ang="0">
                    <a:pos x="347" y="2"/>
                  </a:cxn>
                  <a:cxn ang="0">
                    <a:pos x="345" y="2"/>
                  </a:cxn>
                  <a:cxn ang="0">
                    <a:pos x="344" y="0"/>
                  </a:cxn>
                  <a:cxn ang="0">
                    <a:pos x="340" y="0"/>
                  </a:cxn>
                  <a:cxn ang="0">
                    <a:pos x="302" y="2"/>
                  </a:cxn>
                  <a:cxn ang="0">
                    <a:pos x="269" y="4"/>
                  </a:cxn>
                  <a:cxn ang="0">
                    <a:pos x="241" y="9"/>
                  </a:cxn>
                  <a:cxn ang="0">
                    <a:pos x="203" y="10"/>
                  </a:cxn>
                  <a:cxn ang="0">
                    <a:pos x="204" y="10"/>
                  </a:cxn>
                  <a:cxn ang="0">
                    <a:pos x="164" y="10"/>
                  </a:cxn>
                  <a:cxn ang="0">
                    <a:pos x="108" y="13"/>
                  </a:cxn>
                  <a:cxn ang="0">
                    <a:pos x="110" y="13"/>
                  </a:cxn>
                  <a:cxn ang="0">
                    <a:pos x="76" y="10"/>
                  </a:cxn>
                  <a:cxn ang="0">
                    <a:pos x="7" y="10"/>
                  </a:cxn>
                  <a:cxn ang="0">
                    <a:pos x="10" y="22"/>
                  </a:cxn>
                  <a:cxn ang="0">
                    <a:pos x="23" y="12"/>
                  </a:cxn>
                  <a:cxn ang="0">
                    <a:pos x="25" y="10"/>
                  </a:cxn>
                  <a:cxn ang="0">
                    <a:pos x="25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15" y="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2" y="20"/>
                  </a:cxn>
                  <a:cxn ang="0">
                    <a:pos x="3" y="22"/>
                  </a:cxn>
                  <a:cxn ang="0">
                    <a:pos x="5" y="22"/>
                  </a:cxn>
                  <a:cxn ang="0">
                    <a:pos x="7" y="23"/>
                  </a:cxn>
                  <a:cxn ang="0">
                    <a:pos x="76" y="23"/>
                  </a:cxn>
                  <a:cxn ang="0">
                    <a:pos x="75" y="23"/>
                  </a:cxn>
                  <a:cxn ang="0">
                    <a:pos x="108" y="26"/>
                  </a:cxn>
                  <a:cxn ang="0">
                    <a:pos x="110" y="26"/>
                  </a:cxn>
                  <a:cxn ang="0">
                    <a:pos x="166" y="23"/>
                  </a:cxn>
                  <a:cxn ang="0">
                    <a:pos x="204" y="23"/>
                  </a:cxn>
                  <a:cxn ang="0">
                    <a:pos x="242" y="22"/>
                  </a:cxn>
                  <a:cxn ang="0">
                    <a:pos x="271" y="17"/>
                  </a:cxn>
                  <a:cxn ang="0">
                    <a:pos x="304" y="15"/>
                  </a:cxn>
                  <a:cxn ang="0">
                    <a:pos x="342" y="13"/>
                  </a:cxn>
                </a:cxnLst>
                <a:rect l="0" t="0" r="r" b="b"/>
                <a:pathLst>
                  <a:path w="349" h="26">
                    <a:moveTo>
                      <a:pt x="342" y="13"/>
                    </a:moveTo>
                    <a:lnTo>
                      <a:pt x="344" y="12"/>
                    </a:lnTo>
                    <a:lnTo>
                      <a:pt x="345" y="12"/>
                    </a:lnTo>
                    <a:lnTo>
                      <a:pt x="347" y="10"/>
                    </a:lnTo>
                    <a:lnTo>
                      <a:pt x="347" y="9"/>
                    </a:lnTo>
                    <a:lnTo>
                      <a:pt x="349" y="7"/>
                    </a:lnTo>
                    <a:lnTo>
                      <a:pt x="349" y="5"/>
                    </a:lnTo>
                    <a:lnTo>
                      <a:pt x="347" y="4"/>
                    </a:lnTo>
                    <a:lnTo>
                      <a:pt x="347" y="2"/>
                    </a:lnTo>
                    <a:lnTo>
                      <a:pt x="345" y="2"/>
                    </a:lnTo>
                    <a:lnTo>
                      <a:pt x="344" y="0"/>
                    </a:lnTo>
                    <a:lnTo>
                      <a:pt x="340" y="0"/>
                    </a:lnTo>
                    <a:lnTo>
                      <a:pt x="302" y="2"/>
                    </a:lnTo>
                    <a:lnTo>
                      <a:pt x="269" y="4"/>
                    </a:lnTo>
                    <a:lnTo>
                      <a:pt x="241" y="9"/>
                    </a:lnTo>
                    <a:lnTo>
                      <a:pt x="203" y="10"/>
                    </a:lnTo>
                    <a:lnTo>
                      <a:pt x="204" y="10"/>
                    </a:lnTo>
                    <a:lnTo>
                      <a:pt x="164" y="10"/>
                    </a:lnTo>
                    <a:lnTo>
                      <a:pt x="108" y="13"/>
                    </a:lnTo>
                    <a:lnTo>
                      <a:pt x="110" y="13"/>
                    </a:lnTo>
                    <a:lnTo>
                      <a:pt x="76" y="10"/>
                    </a:lnTo>
                    <a:lnTo>
                      <a:pt x="7" y="10"/>
                    </a:lnTo>
                    <a:lnTo>
                      <a:pt x="10" y="22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15" y="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108" y="26"/>
                    </a:lnTo>
                    <a:lnTo>
                      <a:pt x="110" y="26"/>
                    </a:lnTo>
                    <a:lnTo>
                      <a:pt x="166" y="23"/>
                    </a:lnTo>
                    <a:lnTo>
                      <a:pt x="204" y="23"/>
                    </a:lnTo>
                    <a:lnTo>
                      <a:pt x="242" y="22"/>
                    </a:lnTo>
                    <a:lnTo>
                      <a:pt x="271" y="17"/>
                    </a:lnTo>
                    <a:lnTo>
                      <a:pt x="304" y="15"/>
                    </a:lnTo>
                    <a:lnTo>
                      <a:pt x="342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" name="Freeform 60">
                <a:extLst>
                  <a:ext uri="{FF2B5EF4-FFF2-40B4-BE49-F238E27FC236}">
                    <a16:creationId xmlns:a16="http://schemas.microsoft.com/office/drawing/2014/main" id="{E1F73F22-2865-499C-8B40-B2C42859CA3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7" y="1235"/>
                <a:ext cx="266" cy="258"/>
              </a:xfrm>
              <a:custGeom>
                <a:avLst/>
                <a:gdLst/>
                <a:ahLst/>
                <a:cxnLst>
                  <a:cxn ang="0">
                    <a:pos x="213" y="13"/>
                  </a:cxn>
                  <a:cxn ang="0">
                    <a:pos x="214" y="12"/>
                  </a:cxn>
                  <a:cxn ang="0">
                    <a:pos x="216" y="12"/>
                  </a:cxn>
                  <a:cxn ang="0">
                    <a:pos x="218" y="10"/>
                  </a:cxn>
                  <a:cxn ang="0">
                    <a:pos x="218" y="8"/>
                  </a:cxn>
                  <a:cxn ang="0">
                    <a:pos x="219" y="7"/>
                  </a:cxn>
                  <a:cxn ang="0">
                    <a:pos x="219" y="5"/>
                  </a:cxn>
                  <a:cxn ang="0">
                    <a:pos x="218" y="3"/>
                  </a:cxn>
                  <a:cxn ang="0">
                    <a:pos x="218" y="2"/>
                  </a:cxn>
                  <a:cxn ang="0">
                    <a:pos x="216" y="2"/>
                  </a:cxn>
                  <a:cxn ang="0">
                    <a:pos x="214" y="0"/>
                  </a:cxn>
                  <a:cxn ang="0">
                    <a:pos x="211" y="0"/>
                  </a:cxn>
                  <a:cxn ang="0">
                    <a:pos x="181" y="3"/>
                  </a:cxn>
                  <a:cxn ang="0">
                    <a:pos x="153" y="8"/>
                  </a:cxn>
                  <a:cxn ang="0">
                    <a:pos x="135" y="13"/>
                  </a:cxn>
                  <a:cxn ang="0">
                    <a:pos x="133" y="13"/>
                  </a:cxn>
                  <a:cxn ang="0">
                    <a:pos x="106" y="21"/>
                  </a:cxn>
                  <a:cxn ang="0">
                    <a:pos x="86" y="31"/>
                  </a:cxn>
                  <a:cxn ang="0">
                    <a:pos x="85" y="31"/>
                  </a:cxn>
                  <a:cxn ang="0">
                    <a:pos x="65" y="46"/>
                  </a:cxn>
                  <a:cxn ang="0">
                    <a:pos x="65" y="47"/>
                  </a:cxn>
                  <a:cxn ang="0">
                    <a:pos x="53" y="60"/>
                  </a:cxn>
                  <a:cxn ang="0">
                    <a:pos x="52" y="62"/>
                  </a:cxn>
                  <a:cxn ang="0">
                    <a:pos x="45" y="74"/>
                  </a:cxn>
                  <a:cxn ang="0">
                    <a:pos x="30" y="101"/>
                  </a:cxn>
                  <a:cxn ang="0">
                    <a:pos x="18" y="131"/>
                  </a:cxn>
                  <a:cxn ang="0">
                    <a:pos x="8" y="162"/>
                  </a:cxn>
                  <a:cxn ang="0">
                    <a:pos x="8" y="163"/>
                  </a:cxn>
                  <a:cxn ang="0">
                    <a:pos x="0" y="193"/>
                  </a:cxn>
                  <a:cxn ang="0">
                    <a:pos x="0" y="209"/>
                  </a:cxn>
                  <a:cxn ang="0">
                    <a:pos x="2" y="209"/>
                  </a:cxn>
                  <a:cxn ang="0">
                    <a:pos x="3" y="211"/>
                  </a:cxn>
                  <a:cxn ang="0">
                    <a:pos x="5" y="211"/>
                  </a:cxn>
                  <a:cxn ang="0">
                    <a:pos x="7" y="212"/>
                  </a:cxn>
                  <a:cxn ang="0">
                    <a:pos x="8" y="211"/>
                  </a:cxn>
                  <a:cxn ang="0">
                    <a:pos x="10" y="211"/>
                  </a:cxn>
                  <a:cxn ang="0">
                    <a:pos x="10" y="209"/>
                  </a:cxn>
                  <a:cxn ang="0">
                    <a:pos x="12" y="209"/>
                  </a:cxn>
                  <a:cxn ang="0">
                    <a:pos x="12" y="207"/>
                  </a:cxn>
                  <a:cxn ang="0">
                    <a:pos x="13" y="206"/>
                  </a:cxn>
                  <a:cxn ang="0">
                    <a:pos x="13" y="194"/>
                  </a:cxn>
                  <a:cxn ang="0">
                    <a:pos x="12" y="196"/>
                  </a:cxn>
                  <a:cxn ang="0">
                    <a:pos x="20" y="167"/>
                  </a:cxn>
                  <a:cxn ang="0">
                    <a:pos x="30" y="136"/>
                  </a:cxn>
                  <a:cxn ang="0">
                    <a:pos x="42" y="106"/>
                  </a:cxn>
                  <a:cxn ang="0">
                    <a:pos x="57" y="78"/>
                  </a:cxn>
                  <a:cxn ang="0">
                    <a:pos x="57" y="80"/>
                  </a:cxn>
                  <a:cxn ang="0">
                    <a:pos x="63" y="69"/>
                  </a:cxn>
                  <a:cxn ang="0">
                    <a:pos x="75" y="56"/>
                  </a:cxn>
                  <a:cxn ang="0">
                    <a:pos x="73" y="57"/>
                  </a:cxn>
                  <a:cxn ang="0">
                    <a:pos x="93" y="43"/>
                  </a:cxn>
                  <a:cxn ang="0">
                    <a:pos x="91" y="43"/>
                  </a:cxn>
                  <a:cxn ang="0">
                    <a:pos x="111" y="33"/>
                  </a:cxn>
                  <a:cxn ang="0">
                    <a:pos x="138" y="25"/>
                  </a:cxn>
                  <a:cxn ang="0">
                    <a:pos x="156" y="20"/>
                  </a:cxn>
                  <a:cxn ang="0">
                    <a:pos x="155" y="21"/>
                  </a:cxn>
                  <a:cxn ang="0">
                    <a:pos x="183" y="16"/>
                  </a:cxn>
                  <a:cxn ang="0">
                    <a:pos x="213" y="13"/>
                  </a:cxn>
                </a:cxnLst>
                <a:rect l="0" t="0" r="r" b="b"/>
                <a:pathLst>
                  <a:path w="219" h="212">
                    <a:moveTo>
                      <a:pt x="213" y="13"/>
                    </a:moveTo>
                    <a:lnTo>
                      <a:pt x="214" y="12"/>
                    </a:lnTo>
                    <a:lnTo>
                      <a:pt x="216" y="12"/>
                    </a:lnTo>
                    <a:lnTo>
                      <a:pt x="218" y="10"/>
                    </a:lnTo>
                    <a:lnTo>
                      <a:pt x="218" y="8"/>
                    </a:lnTo>
                    <a:lnTo>
                      <a:pt x="219" y="7"/>
                    </a:lnTo>
                    <a:lnTo>
                      <a:pt x="219" y="5"/>
                    </a:lnTo>
                    <a:lnTo>
                      <a:pt x="218" y="3"/>
                    </a:lnTo>
                    <a:lnTo>
                      <a:pt x="218" y="2"/>
                    </a:lnTo>
                    <a:lnTo>
                      <a:pt x="216" y="2"/>
                    </a:lnTo>
                    <a:lnTo>
                      <a:pt x="214" y="0"/>
                    </a:lnTo>
                    <a:lnTo>
                      <a:pt x="211" y="0"/>
                    </a:lnTo>
                    <a:lnTo>
                      <a:pt x="181" y="3"/>
                    </a:lnTo>
                    <a:lnTo>
                      <a:pt x="153" y="8"/>
                    </a:lnTo>
                    <a:lnTo>
                      <a:pt x="135" y="13"/>
                    </a:lnTo>
                    <a:lnTo>
                      <a:pt x="133" y="13"/>
                    </a:lnTo>
                    <a:lnTo>
                      <a:pt x="106" y="21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65" y="46"/>
                    </a:lnTo>
                    <a:lnTo>
                      <a:pt x="65" y="47"/>
                    </a:lnTo>
                    <a:lnTo>
                      <a:pt x="53" y="60"/>
                    </a:lnTo>
                    <a:lnTo>
                      <a:pt x="52" y="62"/>
                    </a:lnTo>
                    <a:lnTo>
                      <a:pt x="45" y="74"/>
                    </a:lnTo>
                    <a:lnTo>
                      <a:pt x="30" y="101"/>
                    </a:lnTo>
                    <a:lnTo>
                      <a:pt x="18" y="131"/>
                    </a:lnTo>
                    <a:lnTo>
                      <a:pt x="8" y="162"/>
                    </a:lnTo>
                    <a:lnTo>
                      <a:pt x="8" y="163"/>
                    </a:lnTo>
                    <a:lnTo>
                      <a:pt x="0" y="193"/>
                    </a:lnTo>
                    <a:lnTo>
                      <a:pt x="0" y="209"/>
                    </a:lnTo>
                    <a:lnTo>
                      <a:pt x="2" y="209"/>
                    </a:lnTo>
                    <a:lnTo>
                      <a:pt x="3" y="211"/>
                    </a:lnTo>
                    <a:lnTo>
                      <a:pt x="5" y="211"/>
                    </a:lnTo>
                    <a:lnTo>
                      <a:pt x="7" y="212"/>
                    </a:lnTo>
                    <a:lnTo>
                      <a:pt x="8" y="211"/>
                    </a:lnTo>
                    <a:lnTo>
                      <a:pt x="10" y="211"/>
                    </a:lnTo>
                    <a:lnTo>
                      <a:pt x="10" y="209"/>
                    </a:lnTo>
                    <a:lnTo>
                      <a:pt x="12" y="209"/>
                    </a:lnTo>
                    <a:lnTo>
                      <a:pt x="12" y="207"/>
                    </a:lnTo>
                    <a:lnTo>
                      <a:pt x="13" y="206"/>
                    </a:lnTo>
                    <a:lnTo>
                      <a:pt x="13" y="194"/>
                    </a:lnTo>
                    <a:lnTo>
                      <a:pt x="12" y="196"/>
                    </a:lnTo>
                    <a:lnTo>
                      <a:pt x="20" y="167"/>
                    </a:lnTo>
                    <a:lnTo>
                      <a:pt x="30" y="136"/>
                    </a:lnTo>
                    <a:lnTo>
                      <a:pt x="42" y="106"/>
                    </a:lnTo>
                    <a:lnTo>
                      <a:pt x="57" y="78"/>
                    </a:lnTo>
                    <a:lnTo>
                      <a:pt x="57" y="80"/>
                    </a:lnTo>
                    <a:lnTo>
                      <a:pt x="63" y="69"/>
                    </a:lnTo>
                    <a:lnTo>
                      <a:pt x="75" y="56"/>
                    </a:lnTo>
                    <a:lnTo>
                      <a:pt x="73" y="57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111" y="33"/>
                    </a:lnTo>
                    <a:lnTo>
                      <a:pt x="138" y="25"/>
                    </a:lnTo>
                    <a:lnTo>
                      <a:pt x="156" y="20"/>
                    </a:lnTo>
                    <a:lnTo>
                      <a:pt x="155" y="21"/>
                    </a:lnTo>
                    <a:lnTo>
                      <a:pt x="183" y="16"/>
                    </a:lnTo>
                    <a:lnTo>
                      <a:pt x="213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Freeform 61">
                <a:extLst>
                  <a:ext uri="{FF2B5EF4-FFF2-40B4-BE49-F238E27FC236}">
                    <a16:creationId xmlns:a16="http://schemas.microsoft.com/office/drawing/2014/main" id="{0C54B7EF-F533-4788-90C3-A433395E625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34" y="1549"/>
                <a:ext cx="736" cy="197"/>
              </a:xfrm>
              <a:custGeom>
                <a:avLst/>
                <a:gdLst/>
                <a:ahLst/>
                <a:cxnLst>
                  <a:cxn ang="0">
                    <a:pos x="599" y="14"/>
                  </a:cxn>
                  <a:cxn ang="0">
                    <a:pos x="601" y="13"/>
                  </a:cxn>
                  <a:cxn ang="0">
                    <a:pos x="603" y="13"/>
                  </a:cxn>
                  <a:cxn ang="0">
                    <a:pos x="603" y="11"/>
                  </a:cxn>
                  <a:cxn ang="0">
                    <a:pos x="604" y="11"/>
                  </a:cxn>
                  <a:cxn ang="0">
                    <a:pos x="604" y="9"/>
                  </a:cxn>
                  <a:cxn ang="0">
                    <a:pos x="606" y="8"/>
                  </a:cxn>
                  <a:cxn ang="0">
                    <a:pos x="604" y="6"/>
                  </a:cxn>
                  <a:cxn ang="0">
                    <a:pos x="604" y="5"/>
                  </a:cxn>
                  <a:cxn ang="0">
                    <a:pos x="603" y="3"/>
                  </a:cxn>
                  <a:cxn ang="0">
                    <a:pos x="603" y="1"/>
                  </a:cxn>
                  <a:cxn ang="0">
                    <a:pos x="487" y="1"/>
                  </a:cxn>
                  <a:cxn ang="0">
                    <a:pos x="402" y="0"/>
                  </a:cxn>
                  <a:cxn ang="0">
                    <a:pos x="296" y="1"/>
                  </a:cxn>
                  <a:cxn ang="0">
                    <a:pos x="294" y="1"/>
                  </a:cxn>
                  <a:cxn ang="0">
                    <a:pos x="216" y="6"/>
                  </a:cxn>
                  <a:cxn ang="0">
                    <a:pos x="159" y="11"/>
                  </a:cxn>
                  <a:cxn ang="0">
                    <a:pos x="116" y="18"/>
                  </a:cxn>
                  <a:cxn ang="0">
                    <a:pos x="115" y="18"/>
                  </a:cxn>
                  <a:cxn ang="0">
                    <a:pos x="81" y="32"/>
                  </a:cxn>
                  <a:cxn ang="0">
                    <a:pos x="80" y="32"/>
                  </a:cxn>
                  <a:cxn ang="0">
                    <a:pos x="58" y="49"/>
                  </a:cxn>
                  <a:cxn ang="0">
                    <a:pos x="58" y="50"/>
                  </a:cxn>
                  <a:cxn ang="0">
                    <a:pos x="43" y="65"/>
                  </a:cxn>
                  <a:cxn ang="0">
                    <a:pos x="33" y="76"/>
                  </a:cxn>
                  <a:cxn ang="0">
                    <a:pos x="32" y="76"/>
                  </a:cxn>
                  <a:cxn ang="0">
                    <a:pos x="20" y="93"/>
                  </a:cxn>
                  <a:cxn ang="0">
                    <a:pos x="20" y="94"/>
                  </a:cxn>
                  <a:cxn ang="0">
                    <a:pos x="10" y="117"/>
                  </a:cxn>
                  <a:cxn ang="0">
                    <a:pos x="2" y="142"/>
                  </a:cxn>
                  <a:cxn ang="0">
                    <a:pos x="2" y="143"/>
                  </a:cxn>
                  <a:cxn ang="0">
                    <a:pos x="0" y="153"/>
                  </a:cxn>
                  <a:cxn ang="0">
                    <a:pos x="0" y="158"/>
                  </a:cxn>
                  <a:cxn ang="0">
                    <a:pos x="2" y="160"/>
                  </a:cxn>
                  <a:cxn ang="0">
                    <a:pos x="3" y="160"/>
                  </a:cxn>
                  <a:cxn ang="0">
                    <a:pos x="5" y="161"/>
                  </a:cxn>
                  <a:cxn ang="0">
                    <a:pos x="7" y="161"/>
                  </a:cxn>
                  <a:cxn ang="0">
                    <a:pos x="8" y="160"/>
                  </a:cxn>
                  <a:cxn ang="0">
                    <a:pos x="10" y="160"/>
                  </a:cxn>
                  <a:cxn ang="0">
                    <a:pos x="12" y="158"/>
                  </a:cxn>
                  <a:cxn ang="0">
                    <a:pos x="12" y="156"/>
                  </a:cxn>
                  <a:cxn ang="0">
                    <a:pos x="13" y="155"/>
                  </a:cxn>
                  <a:cxn ang="0">
                    <a:pos x="15" y="145"/>
                  </a:cxn>
                  <a:cxn ang="0">
                    <a:pos x="13" y="146"/>
                  </a:cxn>
                  <a:cxn ang="0">
                    <a:pos x="22" y="122"/>
                  </a:cxn>
                  <a:cxn ang="0">
                    <a:pos x="32" y="99"/>
                  </a:cxn>
                  <a:cxn ang="0">
                    <a:pos x="32" y="101"/>
                  </a:cxn>
                  <a:cxn ang="0">
                    <a:pos x="43" y="84"/>
                  </a:cxn>
                  <a:cxn ang="0">
                    <a:pos x="53" y="73"/>
                  </a:cxn>
                  <a:cxn ang="0">
                    <a:pos x="51" y="73"/>
                  </a:cxn>
                  <a:cxn ang="0">
                    <a:pos x="66" y="58"/>
                  </a:cxn>
                  <a:cxn ang="0">
                    <a:pos x="66" y="60"/>
                  </a:cxn>
                  <a:cxn ang="0">
                    <a:pos x="88" y="44"/>
                  </a:cxn>
                  <a:cxn ang="0">
                    <a:pos x="86" y="44"/>
                  </a:cxn>
                  <a:cxn ang="0">
                    <a:pos x="120" y="29"/>
                  </a:cxn>
                  <a:cxn ang="0">
                    <a:pos x="118" y="31"/>
                  </a:cxn>
                  <a:cxn ang="0">
                    <a:pos x="161" y="24"/>
                  </a:cxn>
                  <a:cxn ang="0">
                    <a:pos x="218" y="19"/>
                  </a:cxn>
                  <a:cxn ang="0">
                    <a:pos x="296" y="14"/>
                  </a:cxn>
                  <a:cxn ang="0">
                    <a:pos x="402" y="13"/>
                  </a:cxn>
                  <a:cxn ang="0">
                    <a:pos x="487" y="14"/>
                  </a:cxn>
                  <a:cxn ang="0">
                    <a:pos x="599" y="14"/>
                  </a:cxn>
                </a:cxnLst>
                <a:rect l="0" t="0" r="r" b="b"/>
                <a:pathLst>
                  <a:path w="606" h="161">
                    <a:moveTo>
                      <a:pt x="599" y="14"/>
                    </a:moveTo>
                    <a:lnTo>
                      <a:pt x="601" y="13"/>
                    </a:lnTo>
                    <a:lnTo>
                      <a:pt x="603" y="13"/>
                    </a:lnTo>
                    <a:lnTo>
                      <a:pt x="603" y="11"/>
                    </a:lnTo>
                    <a:lnTo>
                      <a:pt x="604" y="11"/>
                    </a:lnTo>
                    <a:lnTo>
                      <a:pt x="604" y="9"/>
                    </a:lnTo>
                    <a:lnTo>
                      <a:pt x="606" y="8"/>
                    </a:lnTo>
                    <a:lnTo>
                      <a:pt x="604" y="6"/>
                    </a:lnTo>
                    <a:lnTo>
                      <a:pt x="604" y="5"/>
                    </a:lnTo>
                    <a:lnTo>
                      <a:pt x="603" y="3"/>
                    </a:lnTo>
                    <a:lnTo>
                      <a:pt x="603" y="1"/>
                    </a:lnTo>
                    <a:lnTo>
                      <a:pt x="487" y="1"/>
                    </a:lnTo>
                    <a:lnTo>
                      <a:pt x="402" y="0"/>
                    </a:lnTo>
                    <a:lnTo>
                      <a:pt x="296" y="1"/>
                    </a:lnTo>
                    <a:lnTo>
                      <a:pt x="294" y="1"/>
                    </a:lnTo>
                    <a:lnTo>
                      <a:pt x="216" y="6"/>
                    </a:lnTo>
                    <a:lnTo>
                      <a:pt x="159" y="11"/>
                    </a:lnTo>
                    <a:lnTo>
                      <a:pt x="116" y="18"/>
                    </a:lnTo>
                    <a:lnTo>
                      <a:pt x="115" y="18"/>
                    </a:lnTo>
                    <a:lnTo>
                      <a:pt x="81" y="32"/>
                    </a:lnTo>
                    <a:lnTo>
                      <a:pt x="80" y="32"/>
                    </a:lnTo>
                    <a:lnTo>
                      <a:pt x="58" y="49"/>
                    </a:lnTo>
                    <a:lnTo>
                      <a:pt x="58" y="50"/>
                    </a:lnTo>
                    <a:lnTo>
                      <a:pt x="43" y="65"/>
                    </a:lnTo>
                    <a:lnTo>
                      <a:pt x="33" y="76"/>
                    </a:lnTo>
                    <a:lnTo>
                      <a:pt x="32" y="76"/>
                    </a:lnTo>
                    <a:lnTo>
                      <a:pt x="20" y="93"/>
                    </a:lnTo>
                    <a:lnTo>
                      <a:pt x="20" y="94"/>
                    </a:lnTo>
                    <a:lnTo>
                      <a:pt x="10" y="117"/>
                    </a:lnTo>
                    <a:lnTo>
                      <a:pt x="2" y="142"/>
                    </a:lnTo>
                    <a:lnTo>
                      <a:pt x="2" y="143"/>
                    </a:lnTo>
                    <a:lnTo>
                      <a:pt x="0" y="153"/>
                    </a:lnTo>
                    <a:lnTo>
                      <a:pt x="0" y="158"/>
                    </a:lnTo>
                    <a:lnTo>
                      <a:pt x="2" y="160"/>
                    </a:lnTo>
                    <a:lnTo>
                      <a:pt x="3" y="160"/>
                    </a:lnTo>
                    <a:lnTo>
                      <a:pt x="5" y="161"/>
                    </a:lnTo>
                    <a:lnTo>
                      <a:pt x="7" y="161"/>
                    </a:lnTo>
                    <a:lnTo>
                      <a:pt x="8" y="160"/>
                    </a:lnTo>
                    <a:lnTo>
                      <a:pt x="10" y="160"/>
                    </a:lnTo>
                    <a:lnTo>
                      <a:pt x="12" y="158"/>
                    </a:lnTo>
                    <a:lnTo>
                      <a:pt x="12" y="156"/>
                    </a:lnTo>
                    <a:lnTo>
                      <a:pt x="13" y="155"/>
                    </a:lnTo>
                    <a:lnTo>
                      <a:pt x="15" y="145"/>
                    </a:lnTo>
                    <a:lnTo>
                      <a:pt x="13" y="146"/>
                    </a:lnTo>
                    <a:lnTo>
                      <a:pt x="22" y="122"/>
                    </a:lnTo>
                    <a:lnTo>
                      <a:pt x="32" y="99"/>
                    </a:lnTo>
                    <a:lnTo>
                      <a:pt x="32" y="101"/>
                    </a:lnTo>
                    <a:lnTo>
                      <a:pt x="43" y="84"/>
                    </a:lnTo>
                    <a:lnTo>
                      <a:pt x="53" y="73"/>
                    </a:lnTo>
                    <a:lnTo>
                      <a:pt x="51" y="73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120" y="29"/>
                    </a:lnTo>
                    <a:lnTo>
                      <a:pt x="118" y="31"/>
                    </a:lnTo>
                    <a:lnTo>
                      <a:pt x="161" y="24"/>
                    </a:lnTo>
                    <a:lnTo>
                      <a:pt x="218" y="19"/>
                    </a:lnTo>
                    <a:lnTo>
                      <a:pt x="296" y="14"/>
                    </a:lnTo>
                    <a:lnTo>
                      <a:pt x="402" y="13"/>
                    </a:lnTo>
                    <a:lnTo>
                      <a:pt x="487" y="14"/>
                    </a:lnTo>
                    <a:lnTo>
                      <a:pt x="599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Freeform 62">
                <a:extLst>
                  <a:ext uri="{FF2B5EF4-FFF2-40B4-BE49-F238E27FC236}">
                    <a16:creationId xmlns:a16="http://schemas.microsoft.com/office/drawing/2014/main" id="{9A830EB6-D6E8-4D47-ACC6-E272A776407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52" y="1716"/>
                <a:ext cx="422" cy="32"/>
              </a:xfrm>
              <a:custGeom>
                <a:avLst/>
                <a:gdLst/>
                <a:ahLst/>
                <a:cxnLst>
                  <a:cxn ang="0">
                    <a:pos x="341" y="13"/>
                  </a:cxn>
                  <a:cxn ang="0">
                    <a:pos x="342" y="11"/>
                  </a:cxn>
                  <a:cxn ang="0">
                    <a:pos x="344" y="11"/>
                  </a:cxn>
                  <a:cxn ang="0">
                    <a:pos x="347" y="8"/>
                  </a:cxn>
                  <a:cxn ang="0">
                    <a:pos x="347" y="6"/>
                  </a:cxn>
                  <a:cxn ang="0">
                    <a:pos x="346" y="5"/>
                  </a:cxn>
                  <a:cxn ang="0">
                    <a:pos x="346" y="3"/>
                  </a:cxn>
                  <a:cxn ang="0">
                    <a:pos x="344" y="1"/>
                  </a:cxn>
                  <a:cxn ang="0">
                    <a:pos x="344" y="0"/>
                  </a:cxn>
                  <a:cxn ang="0">
                    <a:pos x="341" y="0"/>
                  </a:cxn>
                  <a:cxn ang="0">
                    <a:pos x="175" y="3"/>
                  </a:cxn>
                  <a:cxn ang="0">
                    <a:pos x="173" y="3"/>
                  </a:cxn>
                  <a:cxn ang="0">
                    <a:pos x="5" y="13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24"/>
                  </a:cxn>
                  <a:cxn ang="0">
                    <a:pos x="4" y="24"/>
                  </a:cxn>
                  <a:cxn ang="0">
                    <a:pos x="5" y="26"/>
                  </a:cxn>
                  <a:cxn ang="0">
                    <a:pos x="7" y="26"/>
                  </a:cxn>
                  <a:cxn ang="0">
                    <a:pos x="193" y="19"/>
                  </a:cxn>
                  <a:cxn ang="0">
                    <a:pos x="341" y="19"/>
                  </a:cxn>
                  <a:cxn ang="0">
                    <a:pos x="342" y="18"/>
                  </a:cxn>
                  <a:cxn ang="0">
                    <a:pos x="344" y="18"/>
                  </a:cxn>
                  <a:cxn ang="0">
                    <a:pos x="344" y="16"/>
                  </a:cxn>
                  <a:cxn ang="0">
                    <a:pos x="346" y="16"/>
                  </a:cxn>
                  <a:cxn ang="0">
                    <a:pos x="346" y="14"/>
                  </a:cxn>
                  <a:cxn ang="0">
                    <a:pos x="347" y="13"/>
                  </a:cxn>
                  <a:cxn ang="0">
                    <a:pos x="346" y="11"/>
                  </a:cxn>
                  <a:cxn ang="0">
                    <a:pos x="346" y="9"/>
                  </a:cxn>
                  <a:cxn ang="0">
                    <a:pos x="344" y="8"/>
                  </a:cxn>
                  <a:cxn ang="0">
                    <a:pos x="344" y="6"/>
                  </a:cxn>
                  <a:cxn ang="0">
                    <a:pos x="341" y="6"/>
                  </a:cxn>
                  <a:cxn ang="0">
                    <a:pos x="193" y="6"/>
                  </a:cxn>
                  <a:cxn ang="0">
                    <a:pos x="191" y="6"/>
                  </a:cxn>
                  <a:cxn ang="0">
                    <a:pos x="5" y="13"/>
                  </a:cxn>
                  <a:cxn ang="0">
                    <a:pos x="7" y="26"/>
                  </a:cxn>
                  <a:cxn ang="0">
                    <a:pos x="175" y="16"/>
                  </a:cxn>
                  <a:cxn ang="0">
                    <a:pos x="341" y="13"/>
                  </a:cxn>
                </a:cxnLst>
                <a:rect l="0" t="0" r="r" b="b"/>
                <a:pathLst>
                  <a:path w="347" h="26">
                    <a:moveTo>
                      <a:pt x="341" y="13"/>
                    </a:moveTo>
                    <a:lnTo>
                      <a:pt x="342" y="11"/>
                    </a:lnTo>
                    <a:lnTo>
                      <a:pt x="344" y="11"/>
                    </a:lnTo>
                    <a:lnTo>
                      <a:pt x="347" y="8"/>
                    </a:lnTo>
                    <a:lnTo>
                      <a:pt x="347" y="6"/>
                    </a:lnTo>
                    <a:lnTo>
                      <a:pt x="346" y="5"/>
                    </a:lnTo>
                    <a:lnTo>
                      <a:pt x="346" y="3"/>
                    </a:lnTo>
                    <a:lnTo>
                      <a:pt x="344" y="1"/>
                    </a:lnTo>
                    <a:lnTo>
                      <a:pt x="344" y="0"/>
                    </a:lnTo>
                    <a:lnTo>
                      <a:pt x="341" y="0"/>
                    </a:lnTo>
                    <a:lnTo>
                      <a:pt x="175" y="3"/>
                    </a:lnTo>
                    <a:lnTo>
                      <a:pt x="173" y="3"/>
                    </a:lnTo>
                    <a:lnTo>
                      <a:pt x="5" y="13"/>
                    </a:lnTo>
                    <a:lnTo>
                      <a:pt x="2" y="13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7" y="26"/>
                    </a:lnTo>
                    <a:lnTo>
                      <a:pt x="193" y="19"/>
                    </a:lnTo>
                    <a:lnTo>
                      <a:pt x="341" y="19"/>
                    </a:lnTo>
                    <a:lnTo>
                      <a:pt x="342" y="18"/>
                    </a:lnTo>
                    <a:lnTo>
                      <a:pt x="344" y="18"/>
                    </a:lnTo>
                    <a:lnTo>
                      <a:pt x="344" y="16"/>
                    </a:lnTo>
                    <a:lnTo>
                      <a:pt x="346" y="16"/>
                    </a:lnTo>
                    <a:lnTo>
                      <a:pt x="346" y="14"/>
                    </a:lnTo>
                    <a:lnTo>
                      <a:pt x="347" y="13"/>
                    </a:lnTo>
                    <a:lnTo>
                      <a:pt x="346" y="11"/>
                    </a:lnTo>
                    <a:lnTo>
                      <a:pt x="346" y="9"/>
                    </a:lnTo>
                    <a:lnTo>
                      <a:pt x="344" y="8"/>
                    </a:lnTo>
                    <a:lnTo>
                      <a:pt x="344" y="6"/>
                    </a:lnTo>
                    <a:lnTo>
                      <a:pt x="341" y="6"/>
                    </a:lnTo>
                    <a:lnTo>
                      <a:pt x="193" y="6"/>
                    </a:lnTo>
                    <a:lnTo>
                      <a:pt x="191" y="6"/>
                    </a:lnTo>
                    <a:lnTo>
                      <a:pt x="5" y="13"/>
                    </a:lnTo>
                    <a:lnTo>
                      <a:pt x="7" y="26"/>
                    </a:lnTo>
                    <a:lnTo>
                      <a:pt x="175" y="16"/>
                    </a:lnTo>
                    <a:lnTo>
                      <a:pt x="341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" name="Freeform 63">
                <a:extLst>
                  <a:ext uri="{FF2B5EF4-FFF2-40B4-BE49-F238E27FC236}">
                    <a16:creationId xmlns:a16="http://schemas.microsoft.com/office/drawing/2014/main" id="{3550123B-3547-45AD-9CA3-D3B4026CCB5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57" y="1589"/>
                <a:ext cx="527" cy="41"/>
              </a:xfrm>
              <a:custGeom>
                <a:avLst/>
                <a:gdLst/>
                <a:ahLst/>
                <a:cxnLst>
                  <a:cxn ang="0">
                    <a:pos x="423" y="26"/>
                  </a:cxn>
                  <a:cxn ang="0">
                    <a:pos x="425" y="27"/>
                  </a:cxn>
                  <a:cxn ang="0">
                    <a:pos x="427" y="27"/>
                  </a:cxn>
                  <a:cxn ang="0">
                    <a:pos x="428" y="26"/>
                  </a:cxn>
                  <a:cxn ang="0">
                    <a:pos x="430" y="26"/>
                  </a:cxn>
                  <a:cxn ang="0">
                    <a:pos x="432" y="24"/>
                  </a:cxn>
                  <a:cxn ang="0">
                    <a:pos x="432" y="22"/>
                  </a:cxn>
                  <a:cxn ang="0">
                    <a:pos x="433" y="21"/>
                  </a:cxn>
                  <a:cxn ang="0">
                    <a:pos x="433" y="19"/>
                  </a:cxn>
                  <a:cxn ang="0">
                    <a:pos x="432" y="18"/>
                  </a:cxn>
                  <a:cxn ang="0">
                    <a:pos x="432" y="16"/>
                  </a:cxn>
                  <a:cxn ang="0">
                    <a:pos x="430" y="16"/>
                  </a:cxn>
                  <a:cxn ang="0">
                    <a:pos x="428" y="14"/>
                  </a:cxn>
                  <a:cxn ang="0">
                    <a:pos x="413" y="8"/>
                  </a:cxn>
                  <a:cxn ang="0">
                    <a:pos x="392" y="3"/>
                  </a:cxn>
                  <a:cxn ang="0">
                    <a:pos x="378" y="0"/>
                  </a:cxn>
                  <a:cxn ang="0">
                    <a:pos x="348" y="0"/>
                  </a:cxn>
                  <a:cxn ang="0">
                    <a:pos x="231" y="3"/>
                  </a:cxn>
                  <a:cxn ang="0">
                    <a:pos x="229" y="3"/>
                  </a:cxn>
                  <a:cxn ang="0">
                    <a:pos x="126" y="9"/>
                  </a:cxn>
                  <a:cxn ang="0">
                    <a:pos x="43" y="18"/>
                  </a:cxn>
                  <a:cxn ang="0">
                    <a:pos x="5" y="21"/>
                  </a:cxn>
                  <a:cxn ang="0">
                    <a:pos x="1" y="21"/>
                  </a:cxn>
                  <a:cxn ang="0">
                    <a:pos x="1" y="22"/>
                  </a:cxn>
                  <a:cxn ang="0">
                    <a:pos x="0" y="24"/>
                  </a:cxn>
                  <a:cxn ang="0">
                    <a:pos x="0" y="31"/>
                  </a:cxn>
                  <a:cxn ang="0">
                    <a:pos x="1" y="32"/>
                  </a:cxn>
                  <a:cxn ang="0">
                    <a:pos x="3" y="32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45" y="31"/>
                  </a:cxn>
                  <a:cxn ang="0">
                    <a:pos x="128" y="22"/>
                  </a:cxn>
                  <a:cxn ang="0">
                    <a:pos x="231" y="16"/>
                  </a:cxn>
                  <a:cxn ang="0">
                    <a:pos x="348" y="13"/>
                  </a:cxn>
                  <a:cxn ang="0">
                    <a:pos x="377" y="13"/>
                  </a:cxn>
                  <a:cxn ang="0">
                    <a:pos x="375" y="13"/>
                  </a:cxn>
                  <a:cxn ang="0">
                    <a:pos x="388" y="16"/>
                  </a:cxn>
                  <a:cxn ang="0">
                    <a:pos x="410" y="21"/>
                  </a:cxn>
                  <a:cxn ang="0">
                    <a:pos x="408" y="19"/>
                  </a:cxn>
                  <a:cxn ang="0">
                    <a:pos x="423" y="26"/>
                  </a:cxn>
                </a:cxnLst>
                <a:rect l="0" t="0" r="r" b="b"/>
                <a:pathLst>
                  <a:path w="433" h="34">
                    <a:moveTo>
                      <a:pt x="423" y="26"/>
                    </a:moveTo>
                    <a:lnTo>
                      <a:pt x="425" y="27"/>
                    </a:lnTo>
                    <a:lnTo>
                      <a:pt x="427" y="27"/>
                    </a:lnTo>
                    <a:lnTo>
                      <a:pt x="428" y="26"/>
                    </a:lnTo>
                    <a:lnTo>
                      <a:pt x="430" y="26"/>
                    </a:lnTo>
                    <a:lnTo>
                      <a:pt x="432" y="24"/>
                    </a:lnTo>
                    <a:lnTo>
                      <a:pt x="432" y="22"/>
                    </a:lnTo>
                    <a:lnTo>
                      <a:pt x="433" y="21"/>
                    </a:lnTo>
                    <a:lnTo>
                      <a:pt x="433" y="19"/>
                    </a:lnTo>
                    <a:lnTo>
                      <a:pt x="432" y="18"/>
                    </a:lnTo>
                    <a:lnTo>
                      <a:pt x="432" y="16"/>
                    </a:lnTo>
                    <a:lnTo>
                      <a:pt x="430" y="16"/>
                    </a:lnTo>
                    <a:lnTo>
                      <a:pt x="428" y="14"/>
                    </a:lnTo>
                    <a:lnTo>
                      <a:pt x="413" y="8"/>
                    </a:lnTo>
                    <a:lnTo>
                      <a:pt x="392" y="3"/>
                    </a:lnTo>
                    <a:lnTo>
                      <a:pt x="378" y="0"/>
                    </a:lnTo>
                    <a:lnTo>
                      <a:pt x="348" y="0"/>
                    </a:lnTo>
                    <a:lnTo>
                      <a:pt x="231" y="3"/>
                    </a:lnTo>
                    <a:lnTo>
                      <a:pt x="229" y="3"/>
                    </a:lnTo>
                    <a:lnTo>
                      <a:pt x="126" y="9"/>
                    </a:lnTo>
                    <a:lnTo>
                      <a:pt x="43" y="18"/>
                    </a:lnTo>
                    <a:lnTo>
                      <a:pt x="5" y="21"/>
                    </a:lnTo>
                    <a:lnTo>
                      <a:pt x="1" y="21"/>
                    </a:lnTo>
                    <a:lnTo>
                      <a:pt x="1" y="22"/>
                    </a:lnTo>
                    <a:lnTo>
                      <a:pt x="0" y="24"/>
                    </a:lnTo>
                    <a:lnTo>
                      <a:pt x="0" y="31"/>
                    </a:lnTo>
                    <a:lnTo>
                      <a:pt x="1" y="32"/>
                    </a:lnTo>
                    <a:lnTo>
                      <a:pt x="3" y="32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45" y="31"/>
                    </a:lnTo>
                    <a:lnTo>
                      <a:pt x="128" y="22"/>
                    </a:lnTo>
                    <a:lnTo>
                      <a:pt x="231" y="16"/>
                    </a:lnTo>
                    <a:lnTo>
                      <a:pt x="348" y="13"/>
                    </a:lnTo>
                    <a:lnTo>
                      <a:pt x="377" y="13"/>
                    </a:lnTo>
                    <a:lnTo>
                      <a:pt x="375" y="13"/>
                    </a:lnTo>
                    <a:lnTo>
                      <a:pt x="388" y="16"/>
                    </a:lnTo>
                    <a:lnTo>
                      <a:pt x="410" y="21"/>
                    </a:lnTo>
                    <a:lnTo>
                      <a:pt x="408" y="19"/>
                    </a:lnTo>
                    <a:lnTo>
                      <a:pt x="423" y="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8" name="Freeform 64">
                <a:extLst>
                  <a:ext uri="{FF2B5EF4-FFF2-40B4-BE49-F238E27FC236}">
                    <a16:creationId xmlns:a16="http://schemas.microsoft.com/office/drawing/2014/main" id="{868F87DE-1DF7-4FB7-A9C3-004C963A2B3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275" y="1309"/>
                <a:ext cx="74" cy="27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3" y="11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3" y="22"/>
                  </a:cxn>
                  <a:cxn ang="0">
                    <a:pos x="33" y="22"/>
                  </a:cxn>
                  <a:cxn ang="0">
                    <a:pos x="55" y="21"/>
                  </a:cxn>
                  <a:cxn ang="0">
                    <a:pos x="56" y="19"/>
                  </a:cxn>
                  <a:cxn ang="0">
                    <a:pos x="58" y="19"/>
                  </a:cxn>
                  <a:cxn ang="0">
                    <a:pos x="60" y="18"/>
                  </a:cxn>
                  <a:cxn ang="0">
                    <a:pos x="60" y="16"/>
                  </a:cxn>
                  <a:cxn ang="0">
                    <a:pos x="61" y="14"/>
                  </a:cxn>
                  <a:cxn ang="0">
                    <a:pos x="61" y="13"/>
                  </a:cxn>
                  <a:cxn ang="0">
                    <a:pos x="60" y="11"/>
                  </a:cxn>
                  <a:cxn ang="0">
                    <a:pos x="60" y="9"/>
                  </a:cxn>
                  <a:cxn ang="0">
                    <a:pos x="58" y="9"/>
                  </a:cxn>
                  <a:cxn ang="0">
                    <a:pos x="56" y="8"/>
                  </a:cxn>
                  <a:cxn ang="0">
                    <a:pos x="53" y="8"/>
                  </a:cxn>
                  <a:cxn ang="0">
                    <a:pos x="32" y="9"/>
                  </a:cxn>
                  <a:cxn ang="0">
                    <a:pos x="33" y="9"/>
                  </a:cxn>
                  <a:cxn ang="0">
                    <a:pos x="23" y="9"/>
                  </a:cxn>
                  <a:cxn ang="0">
                    <a:pos x="27" y="9"/>
                  </a:cxn>
                  <a:cxn ang="0">
                    <a:pos x="10" y="0"/>
                  </a:cxn>
                </a:cxnLst>
                <a:rect l="0" t="0" r="r" b="b"/>
                <a:pathLst>
                  <a:path w="61" h="22">
                    <a:moveTo>
                      <a:pt x="1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3" y="11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3" y="22"/>
                    </a:lnTo>
                    <a:lnTo>
                      <a:pt x="33" y="22"/>
                    </a:lnTo>
                    <a:lnTo>
                      <a:pt x="55" y="21"/>
                    </a:lnTo>
                    <a:lnTo>
                      <a:pt x="56" y="19"/>
                    </a:lnTo>
                    <a:lnTo>
                      <a:pt x="58" y="19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0" y="9"/>
                    </a:lnTo>
                    <a:lnTo>
                      <a:pt x="58" y="9"/>
                    </a:lnTo>
                    <a:lnTo>
                      <a:pt x="56" y="8"/>
                    </a:lnTo>
                    <a:lnTo>
                      <a:pt x="53" y="8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Freeform 65">
                <a:extLst>
                  <a:ext uri="{FF2B5EF4-FFF2-40B4-BE49-F238E27FC236}">
                    <a16:creationId xmlns:a16="http://schemas.microsoft.com/office/drawing/2014/main" id="{1596668D-1F1C-46C2-8C8F-FCA838EA2FA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44" y="1183"/>
                <a:ext cx="212" cy="284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140" y="10"/>
                  </a:cxn>
                  <a:cxn ang="0">
                    <a:pos x="143" y="12"/>
                  </a:cxn>
                  <a:cxn ang="0">
                    <a:pos x="158" y="17"/>
                  </a:cxn>
                  <a:cxn ang="0">
                    <a:pos x="165" y="18"/>
                  </a:cxn>
                  <a:cxn ang="0">
                    <a:pos x="161" y="18"/>
                  </a:cxn>
                  <a:cxn ang="0">
                    <a:pos x="150" y="25"/>
                  </a:cxn>
                  <a:cxn ang="0">
                    <a:pos x="128" y="39"/>
                  </a:cxn>
                  <a:cxn ang="0">
                    <a:pos x="106" y="64"/>
                  </a:cxn>
                  <a:cxn ang="0">
                    <a:pos x="87" y="87"/>
                  </a:cxn>
                  <a:cxn ang="0">
                    <a:pos x="72" y="111"/>
                  </a:cxn>
                  <a:cxn ang="0">
                    <a:pos x="45" y="158"/>
                  </a:cxn>
                  <a:cxn ang="0">
                    <a:pos x="37" y="167"/>
                  </a:cxn>
                  <a:cxn ang="0">
                    <a:pos x="23" y="175"/>
                  </a:cxn>
                  <a:cxn ang="0">
                    <a:pos x="7" y="188"/>
                  </a:cxn>
                  <a:cxn ang="0">
                    <a:pos x="3" y="206"/>
                  </a:cxn>
                  <a:cxn ang="0">
                    <a:pos x="0" y="230"/>
                  </a:cxn>
                  <a:cxn ang="0">
                    <a:pos x="3" y="232"/>
                  </a:cxn>
                  <a:cxn ang="0">
                    <a:pos x="7" y="233"/>
                  </a:cxn>
                  <a:cxn ang="0">
                    <a:pos x="10" y="232"/>
                  </a:cxn>
                  <a:cxn ang="0">
                    <a:pos x="12" y="229"/>
                  </a:cxn>
                  <a:cxn ang="0">
                    <a:pos x="17" y="207"/>
                  </a:cxn>
                  <a:cxn ang="0">
                    <a:pos x="17" y="198"/>
                  </a:cxn>
                  <a:cxn ang="0">
                    <a:pos x="45" y="176"/>
                  </a:cxn>
                  <a:cxn ang="0">
                    <a:pos x="55" y="165"/>
                  </a:cxn>
                  <a:cxn ang="0">
                    <a:pos x="57" y="163"/>
                  </a:cxn>
                  <a:cxn ang="0">
                    <a:pos x="63" y="150"/>
                  </a:cxn>
                  <a:cxn ang="0">
                    <a:pos x="98" y="95"/>
                  </a:cxn>
                  <a:cxn ang="0">
                    <a:pos x="138" y="49"/>
                  </a:cxn>
                  <a:cxn ang="0">
                    <a:pos x="158" y="34"/>
                  </a:cxn>
                  <a:cxn ang="0">
                    <a:pos x="171" y="21"/>
                  </a:cxn>
                  <a:cxn ang="0">
                    <a:pos x="173" y="20"/>
                  </a:cxn>
                  <a:cxn ang="0">
                    <a:pos x="175" y="12"/>
                  </a:cxn>
                  <a:cxn ang="0">
                    <a:pos x="173" y="8"/>
                  </a:cxn>
                  <a:cxn ang="0">
                    <a:pos x="170" y="7"/>
                  </a:cxn>
                  <a:cxn ang="0">
                    <a:pos x="148" y="0"/>
                  </a:cxn>
                </a:cxnLst>
                <a:rect l="0" t="0" r="r" b="b"/>
                <a:pathLst>
                  <a:path w="175" h="233">
                    <a:moveTo>
                      <a:pt x="148" y="0"/>
                    </a:moveTo>
                    <a:lnTo>
                      <a:pt x="143" y="0"/>
                    </a:lnTo>
                    <a:lnTo>
                      <a:pt x="140" y="3"/>
                    </a:lnTo>
                    <a:lnTo>
                      <a:pt x="140" y="10"/>
                    </a:lnTo>
                    <a:lnTo>
                      <a:pt x="141" y="12"/>
                    </a:lnTo>
                    <a:lnTo>
                      <a:pt x="143" y="12"/>
                    </a:lnTo>
                    <a:lnTo>
                      <a:pt x="145" y="13"/>
                    </a:lnTo>
                    <a:lnTo>
                      <a:pt x="158" y="17"/>
                    </a:lnTo>
                    <a:lnTo>
                      <a:pt x="156" y="15"/>
                    </a:lnTo>
                    <a:lnTo>
                      <a:pt x="165" y="18"/>
                    </a:lnTo>
                    <a:lnTo>
                      <a:pt x="161" y="13"/>
                    </a:lnTo>
                    <a:lnTo>
                      <a:pt x="161" y="18"/>
                    </a:lnTo>
                    <a:lnTo>
                      <a:pt x="163" y="13"/>
                    </a:lnTo>
                    <a:lnTo>
                      <a:pt x="150" y="25"/>
                    </a:lnTo>
                    <a:lnTo>
                      <a:pt x="150" y="23"/>
                    </a:lnTo>
                    <a:lnTo>
                      <a:pt x="128" y="39"/>
                    </a:lnTo>
                    <a:lnTo>
                      <a:pt x="128" y="41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87" y="87"/>
                    </a:lnTo>
                    <a:lnTo>
                      <a:pt x="72" y="109"/>
                    </a:lnTo>
                    <a:lnTo>
                      <a:pt x="72" y="111"/>
                    </a:lnTo>
                    <a:lnTo>
                      <a:pt x="52" y="144"/>
                    </a:lnTo>
                    <a:lnTo>
                      <a:pt x="45" y="158"/>
                    </a:lnTo>
                    <a:lnTo>
                      <a:pt x="47" y="157"/>
                    </a:lnTo>
                    <a:lnTo>
                      <a:pt x="37" y="167"/>
                    </a:lnTo>
                    <a:lnTo>
                      <a:pt x="37" y="165"/>
                    </a:lnTo>
                    <a:lnTo>
                      <a:pt x="23" y="175"/>
                    </a:lnTo>
                    <a:lnTo>
                      <a:pt x="8" y="186"/>
                    </a:lnTo>
                    <a:lnTo>
                      <a:pt x="7" y="188"/>
                    </a:lnTo>
                    <a:lnTo>
                      <a:pt x="7" y="191"/>
                    </a:lnTo>
                    <a:lnTo>
                      <a:pt x="3" y="206"/>
                    </a:lnTo>
                    <a:lnTo>
                      <a:pt x="0" y="225"/>
                    </a:lnTo>
                    <a:lnTo>
                      <a:pt x="0" y="230"/>
                    </a:lnTo>
                    <a:lnTo>
                      <a:pt x="2" y="232"/>
                    </a:lnTo>
                    <a:lnTo>
                      <a:pt x="3" y="232"/>
                    </a:lnTo>
                    <a:lnTo>
                      <a:pt x="5" y="233"/>
                    </a:lnTo>
                    <a:lnTo>
                      <a:pt x="7" y="233"/>
                    </a:lnTo>
                    <a:lnTo>
                      <a:pt x="8" y="232"/>
                    </a:lnTo>
                    <a:lnTo>
                      <a:pt x="10" y="232"/>
                    </a:lnTo>
                    <a:lnTo>
                      <a:pt x="12" y="230"/>
                    </a:lnTo>
                    <a:lnTo>
                      <a:pt x="12" y="229"/>
                    </a:lnTo>
                    <a:lnTo>
                      <a:pt x="13" y="227"/>
                    </a:lnTo>
                    <a:lnTo>
                      <a:pt x="17" y="207"/>
                    </a:lnTo>
                    <a:lnTo>
                      <a:pt x="20" y="193"/>
                    </a:lnTo>
                    <a:lnTo>
                      <a:pt x="17" y="198"/>
                    </a:lnTo>
                    <a:lnTo>
                      <a:pt x="32" y="186"/>
                    </a:lnTo>
                    <a:lnTo>
                      <a:pt x="45" y="176"/>
                    </a:lnTo>
                    <a:lnTo>
                      <a:pt x="45" y="175"/>
                    </a:lnTo>
                    <a:lnTo>
                      <a:pt x="55" y="165"/>
                    </a:lnTo>
                    <a:lnTo>
                      <a:pt x="57" y="165"/>
                    </a:lnTo>
                    <a:lnTo>
                      <a:pt x="57" y="163"/>
                    </a:lnTo>
                    <a:lnTo>
                      <a:pt x="63" y="149"/>
                    </a:lnTo>
                    <a:lnTo>
                      <a:pt x="63" y="150"/>
                    </a:lnTo>
                    <a:lnTo>
                      <a:pt x="83" y="118"/>
                    </a:lnTo>
                    <a:lnTo>
                      <a:pt x="98" y="95"/>
                    </a:lnTo>
                    <a:lnTo>
                      <a:pt x="116" y="72"/>
                    </a:lnTo>
                    <a:lnTo>
                      <a:pt x="138" y="49"/>
                    </a:lnTo>
                    <a:lnTo>
                      <a:pt x="136" y="51"/>
                    </a:lnTo>
                    <a:lnTo>
                      <a:pt x="158" y="34"/>
                    </a:lnTo>
                    <a:lnTo>
                      <a:pt x="171" y="23"/>
                    </a:lnTo>
                    <a:lnTo>
                      <a:pt x="171" y="21"/>
                    </a:lnTo>
                    <a:lnTo>
                      <a:pt x="173" y="21"/>
                    </a:lnTo>
                    <a:lnTo>
                      <a:pt x="173" y="20"/>
                    </a:lnTo>
                    <a:lnTo>
                      <a:pt x="175" y="18"/>
                    </a:lnTo>
                    <a:lnTo>
                      <a:pt x="175" y="12"/>
                    </a:lnTo>
                    <a:lnTo>
                      <a:pt x="173" y="10"/>
                    </a:lnTo>
                    <a:lnTo>
                      <a:pt x="173" y="8"/>
                    </a:lnTo>
                    <a:lnTo>
                      <a:pt x="171" y="7"/>
                    </a:lnTo>
                    <a:lnTo>
                      <a:pt x="170" y="7"/>
                    </a:lnTo>
                    <a:lnTo>
                      <a:pt x="161" y="3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Freeform 66">
                <a:extLst>
                  <a:ext uri="{FF2B5EF4-FFF2-40B4-BE49-F238E27FC236}">
                    <a16:creationId xmlns:a16="http://schemas.microsoft.com/office/drawing/2014/main" id="{BD86732E-0AD2-4080-A809-76E4CE364B0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169" y="1256"/>
                <a:ext cx="21" cy="44"/>
              </a:xfrm>
              <a:custGeom>
                <a:avLst/>
                <a:gdLst/>
                <a:ahLst/>
                <a:cxnLst>
                  <a:cxn ang="0">
                    <a:pos x="17" y="6"/>
                  </a:cxn>
                  <a:cxn ang="0">
                    <a:pos x="17" y="5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3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5"/>
                  </a:cxn>
                  <a:cxn ang="0">
                    <a:pos x="0" y="27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3" y="34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10" y="34"/>
                  </a:cxn>
                  <a:cxn ang="0">
                    <a:pos x="12" y="32"/>
                  </a:cxn>
                  <a:cxn ang="0">
                    <a:pos x="12" y="31"/>
                  </a:cxn>
                  <a:cxn ang="0">
                    <a:pos x="13" y="29"/>
                  </a:cxn>
                  <a:cxn ang="0">
                    <a:pos x="17" y="6"/>
                  </a:cxn>
                </a:cxnLst>
                <a:rect l="0" t="0" r="r" b="b"/>
                <a:pathLst>
                  <a:path w="17" h="36">
                    <a:moveTo>
                      <a:pt x="17" y="6"/>
                    </a:moveTo>
                    <a:lnTo>
                      <a:pt x="17" y="5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5"/>
                    </a:lnTo>
                    <a:lnTo>
                      <a:pt x="0" y="27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2" y="31"/>
                    </a:lnTo>
                    <a:lnTo>
                      <a:pt x="13" y="29"/>
                    </a:lnTo>
                    <a:lnTo>
                      <a:pt x="1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Freeform 67">
                <a:extLst>
                  <a:ext uri="{FF2B5EF4-FFF2-40B4-BE49-F238E27FC236}">
                    <a16:creationId xmlns:a16="http://schemas.microsoft.com/office/drawing/2014/main" id="{13C4D2E3-D9ED-4E0A-880A-D83E8F7EBED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87" y="1595"/>
                <a:ext cx="207" cy="470"/>
              </a:xfrm>
              <a:custGeom>
                <a:avLst/>
                <a:gdLst/>
                <a:ahLst/>
                <a:cxnLst>
                  <a:cxn ang="0">
                    <a:pos x="163" y="15"/>
                  </a:cxn>
                  <a:cxn ang="0">
                    <a:pos x="164" y="15"/>
                  </a:cxn>
                  <a:cxn ang="0">
                    <a:pos x="166" y="13"/>
                  </a:cxn>
                  <a:cxn ang="0">
                    <a:pos x="168" y="13"/>
                  </a:cxn>
                  <a:cxn ang="0">
                    <a:pos x="169" y="11"/>
                  </a:cxn>
                  <a:cxn ang="0">
                    <a:pos x="169" y="10"/>
                  </a:cxn>
                  <a:cxn ang="0">
                    <a:pos x="171" y="8"/>
                  </a:cxn>
                  <a:cxn ang="0">
                    <a:pos x="171" y="7"/>
                  </a:cxn>
                  <a:cxn ang="0">
                    <a:pos x="169" y="5"/>
                  </a:cxn>
                  <a:cxn ang="0">
                    <a:pos x="169" y="3"/>
                  </a:cxn>
                  <a:cxn ang="0">
                    <a:pos x="168" y="2"/>
                  </a:cxn>
                  <a:cxn ang="0">
                    <a:pos x="164" y="2"/>
                  </a:cxn>
                  <a:cxn ang="0">
                    <a:pos x="141" y="0"/>
                  </a:cxn>
                  <a:cxn ang="0">
                    <a:pos x="139" y="0"/>
                  </a:cxn>
                  <a:cxn ang="0">
                    <a:pos x="113" y="3"/>
                  </a:cxn>
                  <a:cxn ang="0">
                    <a:pos x="111" y="3"/>
                  </a:cxn>
                  <a:cxn ang="0">
                    <a:pos x="88" y="16"/>
                  </a:cxn>
                  <a:cxn ang="0">
                    <a:pos x="75" y="29"/>
                  </a:cxn>
                  <a:cxn ang="0">
                    <a:pos x="73" y="29"/>
                  </a:cxn>
                  <a:cxn ang="0">
                    <a:pos x="58" y="52"/>
                  </a:cxn>
                  <a:cxn ang="0">
                    <a:pos x="58" y="54"/>
                  </a:cxn>
                  <a:cxn ang="0">
                    <a:pos x="43" y="83"/>
                  </a:cxn>
                  <a:cxn ang="0">
                    <a:pos x="30" y="114"/>
                  </a:cxn>
                  <a:cxn ang="0">
                    <a:pos x="30" y="116"/>
                  </a:cxn>
                  <a:cxn ang="0">
                    <a:pos x="22" y="150"/>
                  </a:cxn>
                  <a:cxn ang="0">
                    <a:pos x="13" y="183"/>
                  </a:cxn>
                  <a:cxn ang="0">
                    <a:pos x="5" y="230"/>
                  </a:cxn>
                  <a:cxn ang="0">
                    <a:pos x="2" y="274"/>
                  </a:cxn>
                  <a:cxn ang="0">
                    <a:pos x="2" y="276"/>
                  </a:cxn>
                  <a:cxn ang="0">
                    <a:pos x="0" y="329"/>
                  </a:cxn>
                  <a:cxn ang="0">
                    <a:pos x="0" y="382"/>
                  </a:cxn>
                  <a:cxn ang="0">
                    <a:pos x="2" y="382"/>
                  </a:cxn>
                  <a:cxn ang="0">
                    <a:pos x="3" y="383"/>
                  </a:cxn>
                  <a:cxn ang="0">
                    <a:pos x="5" y="383"/>
                  </a:cxn>
                  <a:cxn ang="0">
                    <a:pos x="7" y="385"/>
                  </a:cxn>
                  <a:cxn ang="0">
                    <a:pos x="8" y="383"/>
                  </a:cxn>
                  <a:cxn ang="0">
                    <a:pos x="10" y="383"/>
                  </a:cxn>
                  <a:cxn ang="0">
                    <a:pos x="10" y="382"/>
                  </a:cxn>
                  <a:cxn ang="0">
                    <a:pos x="12" y="382"/>
                  </a:cxn>
                  <a:cxn ang="0">
                    <a:pos x="12" y="380"/>
                  </a:cxn>
                  <a:cxn ang="0">
                    <a:pos x="13" y="378"/>
                  </a:cxn>
                  <a:cxn ang="0">
                    <a:pos x="13" y="329"/>
                  </a:cxn>
                  <a:cxn ang="0">
                    <a:pos x="15" y="276"/>
                  </a:cxn>
                  <a:cxn ang="0">
                    <a:pos x="18" y="232"/>
                  </a:cxn>
                  <a:cxn ang="0">
                    <a:pos x="27" y="184"/>
                  </a:cxn>
                  <a:cxn ang="0">
                    <a:pos x="27" y="186"/>
                  </a:cxn>
                  <a:cxn ang="0">
                    <a:pos x="35" y="153"/>
                  </a:cxn>
                  <a:cxn ang="0">
                    <a:pos x="43" y="119"/>
                  </a:cxn>
                  <a:cxn ang="0">
                    <a:pos x="41" y="119"/>
                  </a:cxn>
                  <a:cxn ang="0">
                    <a:pos x="55" y="88"/>
                  </a:cxn>
                  <a:cxn ang="0">
                    <a:pos x="70" y="59"/>
                  </a:cxn>
                  <a:cxn ang="0">
                    <a:pos x="70" y="60"/>
                  </a:cxn>
                  <a:cxn ang="0">
                    <a:pos x="85" y="38"/>
                  </a:cxn>
                  <a:cxn ang="0">
                    <a:pos x="83" y="38"/>
                  </a:cxn>
                  <a:cxn ang="0">
                    <a:pos x="95" y="26"/>
                  </a:cxn>
                  <a:cxn ang="0">
                    <a:pos x="95" y="28"/>
                  </a:cxn>
                  <a:cxn ang="0">
                    <a:pos x="118" y="15"/>
                  </a:cxn>
                  <a:cxn ang="0">
                    <a:pos x="115" y="16"/>
                  </a:cxn>
                  <a:cxn ang="0">
                    <a:pos x="141" y="13"/>
                  </a:cxn>
                  <a:cxn ang="0">
                    <a:pos x="139" y="13"/>
                  </a:cxn>
                  <a:cxn ang="0">
                    <a:pos x="163" y="15"/>
                  </a:cxn>
                </a:cxnLst>
                <a:rect l="0" t="0" r="r" b="b"/>
                <a:pathLst>
                  <a:path w="171" h="385">
                    <a:moveTo>
                      <a:pt x="163" y="15"/>
                    </a:moveTo>
                    <a:lnTo>
                      <a:pt x="164" y="15"/>
                    </a:lnTo>
                    <a:lnTo>
                      <a:pt x="166" y="13"/>
                    </a:lnTo>
                    <a:lnTo>
                      <a:pt x="168" y="13"/>
                    </a:lnTo>
                    <a:lnTo>
                      <a:pt x="169" y="11"/>
                    </a:lnTo>
                    <a:lnTo>
                      <a:pt x="169" y="10"/>
                    </a:lnTo>
                    <a:lnTo>
                      <a:pt x="171" y="8"/>
                    </a:lnTo>
                    <a:lnTo>
                      <a:pt x="171" y="7"/>
                    </a:lnTo>
                    <a:lnTo>
                      <a:pt x="169" y="5"/>
                    </a:lnTo>
                    <a:lnTo>
                      <a:pt x="169" y="3"/>
                    </a:lnTo>
                    <a:lnTo>
                      <a:pt x="168" y="2"/>
                    </a:lnTo>
                    <a:lnTo>
                      <a:pt x="164" y="2"/>
                    </a:lnTo>
                    <a:lnTo>
                      <a:pt x="141" y="0"/>
                    </a:lnTo>
                    <a:lnTo>
                      <a:pt x="139" y="0"/>
                    </a:lnTo>
                    <a:lnTo>
                      <a:pt x="113" y="3"/>
                    </a:lnTo>
                    <a:lnTo>
                      <a:pt x="111" y="3"/>
                    </a:lnTo>
                    <a:lnTo>
                      <a:pt x="88" y="16"/>
                    </a:lnTo>
                    <a:lnTo>
                      <a:pt x="75" y="29"/>
                    </a:lnTo>
                    <a:lnTo>
                      <a:pt x="73" y="29"/>
                    </a:lnTo>
                    <a:lnTo>
                      <a:pt x="58" y="52"/>
                    </a:lnTo>
                    <a:lnTo>
                      <a:pt x="58" y="54"/>
                    </a:lnTo>
                    <a:lnTo>
                      <a:pt x="43" y="83"/>
                    </a:lnTo>
                    <a:lnTo>
                      <a:pt x="30" y="114"/>
                    </a:lnTo>
                    <a:lnTo>
                      <a:pt x="30" y="116"/>
                    </a:lnTo>
                    <a:lnTo>
                      <a:pt x="22" y="150"/>
                    </a:lnTo>
                    <a:lnTo>
                      <a:pt x="13" y="183"/>
                    </a:lnTo>
                    <a:lnTo>
                      <a:pt x="5" y="230"/>
                    </a:lnTo>
                    <a:lnTo>
                      <a:pt x="2" y="274"/>
                    </a:lnTo>
                    <a:lnTo>
                      <a:pt x="2" y="276"/>
                    </a:lnTo>
                    <a:lnTo>
                      <a:pt x="0" y="329"/>
                    </a:lnTo>
                    <a:lnTo>
                      <a:pt x="0" y="382"/>
                    </a:lnTo>
                    <a:lnTo>
                      <a:pt x="2" y="382"/>
                    </a:lnTo>
                    <a:lnTo>
                      <a:pt x="3" y="383"/>
                    </a:lnTo>
                    <a:lnTo>
                      <a:pt x="5" y="383"/>
                    </a:lnTo>
                    <a:lnTo>
                      <a:pt x="7" y="385"/>
                    </a:lnTo>
                    <a:lnTo>
                      <a:pt x="8" y="383"/>
                    </a:lnTo>
                    <a:lnTo>
                      <a:pt x="10" y="383"/>
                    </a:lnTo>
                    <a:lnTo>
                      <a:pt x="10" y="382"/>
                    </a:lnTo>
                    <a:lnTo>
                      <a:pt x="12" y="382"/>
                    </a:lnTo>
                    <a:lnTo>
                      <a:pt x="12" y="380"/>
                    </a:lnTo>
                    <a:lnTo>
                      <a:pt x="13" y="378"/>
                    </a:lnTo>
                    <a:lnTo>
                      <a:pt x="13" y="329"/>
                    </a:lnTo>
                    <a:lnTo>
                      <a:pt x="15" y="276"/>
                    </a:lnTo>
                    <a:lnTo>
                      <a:pt x="18" y="232"/>
                    </a:lnTo>
                    <a:lnTo>
                      <a:pt x="27" y="184"/>
                    </a:lnTo>
                    <a:lnTo>
                      <a:pt x="27" y="186"/>
                    </a:lnTo>
                    <a:lnTo>
                      <a:pt x="35" y="153"/>
                    </a:lnTo>
                    <a:lnTo>
                      <a:pt x="43" y="119"/>
                    </a:lnTo>
                    <a:lnTo>
                      <a:pt x="41" y="119"/>
                    </a:lnTo>
                    <a:lnTo>
                      <a:pt x="55" y="88"/>
                    </a:lnTo>
                    <a:lnTo>
                      <a:pt x="70" y="59"/>
                    </a:lnTo>
                    <a:lnTo>
                      <a:pt x="70" y="60"/>
                    </a:lnTo>
                    <a:lnTo>
                      <a:pt x="85" y="38"/>
                    </a:lnTo>
                    <a:lnTo>
                      <a:pt x="83" y="38"/>
                    </a:lnTo>
                    <a:lnTo>
                      <a:pt x="95" y="26"/>
                    </a:lnTo>
                    <a:lnTo>
                      <a:pt x="95" y="28"/>
                    </a:lnTo>
                    <a:lnTo>
                      <a:pt x="118" y="15"/>
                    </a:lnTo>
                    <a:lnTo>
                      <a:pt x="115" y="16"/>
                    </a:lnTo>
                    <a:lnTo>
                      <a:pt x="141" y="13"/>
                    </a:lnTo>
                    <a:lnTo>
                      <a:pt x="139" y="13"/>
                    </a:lnTo>
                    <a:lnTo>
                      <a:pt x="163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Freeform 68">
                <a:extLst>
                  <a:ext uri="{FF2B5EF4-FFF2-40B4-BE49-F238E27FC236}">
                    <a16:creationId xmlns:a16="http://schemas.microsoft.com/office/drawing/2014/main" id="{5F0702D9-01BC-4EE5-988E-82E45C60E36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6" y="1259"/>
                <a:ext cx="518" cy="386"/>
              </a:xfrm>
              <a:custGeom>
                <a:avLst/>
                <a:gdLst/>
                <a:ahLst/>
                <a:cxnLst>
                  <a:cxn ang="0">
                    <a:pos x="420" y="13"/>
                  </a:cxn>
                  <a:cxn ang="0">
                    <a:pos x="421" y="12"/>
                  </a:cxn>
                  <a:cxn ang="0">
                    <a:pos x="423" y="12"/>
                  </a:cxn>
                  <a:cxn ang="0">
                    <a:pos x="425" y="10"/>
                  </a:cxn>
                  <a:cxn ang="0">
                    <a:pos x="425" y="8"/>
                  </a:cxn>
                  <a:cxn ang="0">
                    <a:pos x="426" y="7"/>
                  </a:cxn>
                  <a:cxn ang="0">
                    <a:pos x="426" y="5"/>
                  </a:cxn>
                  <a:cxn ang="0">
                    <a:pos x="425" y="3"/>
                  </a:cxn>
                  <a:cxn ang="0">
                    <a:pos x="425" y="2"/>
                  </a:cxn>
                  <a:cxn ang="0">
                    <a:pos x="423" y="0"/>
                  </a:cxn>
                  <a:cxn ang="0">
                    <a:pos x="418" y="0"/>
                  </a:cxn>
                  <a:cxn ang="0">
                    <a:pos x="285" y="18"/>
                  </a:cxn>
                  <a:cxn ang="0">
                    <a:pos x="187" y="36"/>
                  </a:cxn>
                  <a:cxn ang="0">
                    <a:pos x="114" y="52"/>
                  </a:cxn>
                  <a:cxn ang="0">
                    <a:pos x="88" y="59"/>
                  </a:cxn>
                  <a:cxn ang="0">
                    <a:pos x="86" y="59"/>
                  </a:cxn>
                  <a:cxn ang="0">
                    <a:pos x="64" y="70"/>
                  </a:cxn>
                  <a:cxn ang="0">
                    <a:pos x="46" y="80"/>
                  </a:cxn>
                  <a:cxn ang="0">
                    <a:pos x="44" y="82"/>
                  </a:cxn>
                  <a:cxn ang="0">
                    <a:pos x="24" y="104"/>
                  </a:cxn>
                  <a:cxn ang="0">
                    <a:pos x="23" y="106"/>
                  </a:cxn>
                  <a:cxn ang="0">
                    <a:pos x="13" y="135"/>
                  </a:cxn>
                  <a:cxn ang="0">
                    <a:pos x="13" y="137"/>
                  </a:cxn>
                  <a:cxn ang="0">
                    <a:pos x="6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1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6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1" y="313"/>
                  </a:cxn>
                  <a:cxn ang="0">
                    <a:pos x="11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6" y="212"/>
                  </a:cxn>
                  <a:cxn ang="0">
                    <a:pos x="20" y="175"/>
                  </a:cxn>
                  <a:cxn ang="0">
                    <a:pos x="26" y="139"/>
                  </a:cxn>
                  <a:cxn ang="0">
                    <a:pos x="24" y="140"/>
                  </a:cxn>
                  <a:cxn ang="0">
                    <a:pos x="34" y="111"/>
                  </a:cxn>
                  <a:cxn ang="0">
                    <a:pos x="34" y="113"/>
                  </a:cxn>
                  <a:cxn ang="0">
                    <a:pos x="54" y="90"/>
                  </a:cxn>
                  <a:cxn ang="0">
                    <a:pos x="53" y="91"/>
                  </a:cxn>
                  <a:cxn ang="0">
                    <a:pos x="71" y="82"/>
                  </a:cxn>
                  <a:cxn ang="0">
                    <a:pos x="93" y="70"/>
                  </a:cxn>
                  <a:cxn ang="0">
                    <a:pos x="91" y="72"/>
                  </a:cxn>
                  <a:cxn ang="0">
                    <a:pos x="117" y="65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287" y="31"/>
                  </a:cxn>
                  <a:cxn ang="0">
                    <a:pos x="420" y="13"/>
                  </a:cxn>
                </a:cxnLst>
                <a:rect l="0" t="0" r="r" b="b"/>
                <a:pathLst>
                  <a:path w="426" h="316">
                    <a:moveTo>
                      <a:pt x="420" y="13"/>
                    </a:moveTo>
                    <a:lnTo>
                      <a:pt x="421" y="12"/>
                    </a:lnTo>
                    <a:lnTo>
                      <a:pt x="423" y="12"/>
                    </a:lnTo>
                    <a:lnTo>
                      <a:pt x="425" y="10"/>
                    </a:lnTo>
                    <a:lnTo>
                      <a:pt x="425" y="8"/>
                    </a:lnTo>
                    <a:lnTo>
                      <a:pt x="426" y="7"/>
                    </a:lnTo>
                    <a:lnTo>
                      <a:pt x="426" y="5"/>
                    </a:lnTo>
                    <a:lnTo>
                      <a:pt x="425" y="3"/>
                    </a:lnTo>
                    <a:lnTo>
                      <a:pt x="425" y="2"/>
                    </a:lnTo>
                    <a:lnTo>
                      <a:pt x="423" y="0"/>
                    </a:lnTo>
                    <a:lnTo>
                      <a:pt x="418" y="0"/>
                    </a:lnTo>
                    <a:lnTo>
                      <a:pt x="285" y="18"/>
                    </a:lnTo>
                    <a:lnTo>
                      <a:pt x="187" y="36"/>
                    </a:lnTo>
                    <a:lnTo>
                      <a:pt x="114" y="52"/>
                    </a:lnTo>
                    <a:lnTo>
                      <a:pt x="88" y="59"/>
                    </a:lnTo>
                    <a:lnTo>
                      <a:pt x="86" y="59"/>
                    </a:lnTo>
                    <a:lnTo>
                      <a:pt x="64" y="70"/>
                    </a:lnTo>
                    <a:lnTo>
                      <a:pt x="46" y="80"/>
                    </a:lnTo>
                    <a:lnTo>
                      <a:pt x="44" y="82"/>
                    </a:lnTo>
                    <a:lnTo>
                      <a:pt x="24" y="104"/>
                    </a:lnTo>
                    <a:lnTo>
                      <a:pt x="23" y="106"/>
                    </a:lnTo>
                    <a:lnTo>
                      <a:pt x="13" y="135"/>
                    </a:lnTo>
                    <a:lnTo>
                      <a:pt x="13" y="137"/>
                    </a:lnTo>
                    <a:lnTo>
                      <a:pt x="6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1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6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1" y="313"/>
                    </a:lnTo>
                    <a:lnTo>
                      <a:pt x="11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6" y="212"/>
                    </a:lnTo>
                    <a:lnTo>
                      <a:pt x="20" y="175"/>
                    </a:lnTo>
                    <a:lnTo>
                      <a:pt x="26" y="139"/>
                    </a:lnTo>
                    <a:lnTo>
                      <a:pt x="24" y="140"/>
                    </a:lnTo>
                    <a:lnTo>
                      <a:pt x="34" y="111"/>
                    </a:lnTo>
                    <a:lnTo>
                      <a:pt x="34" y="113"/>
                    </a:lnTo>
                    <a:lnTo>
                      <a:pt x="54" y="90"/>
                    </a:lnTo>
                    <a:lnTo>
                      <a:pt x="53" y="91"/>
                    </a:lnTo>
                    <a:lnTo>
                      <a:pt x="71" y="82"/>
                    </a:lnTo>
                    <a:lnTo>
                      <a:pt x="93" y="70"/>
                    </a:lnTo>
                    <a:lnTo>
                      <a:pt x="91" y="72"/>
                    </a:lnTo>
                    <a:lnTo>
                      <a:pt x="117" y="65"/>
                    </a:lnTo>
                    <a:lnTo>
                      <a:pt x="191" y="49"/>
                    </a:lnTo>
                    <a:lnTo>
                      <a:pt x="189" y="49"/>
                    </a:lnTo>
                    <a:lnTo>
                      <a:pt x="287" y="31"/>
                    </a:lnTo>
                    <a:lnTo>
                      <a:pt x="420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Freeform 69">
                <a:extLst>
                  <a:ext uri="{FF2B5EF4-FFF2-40B4-BE49-F238E27FC236}">
                    <a16:creationId xmlns:a16="http://schemas.microsoft.com/office/drawing/2014/main" id="{29A95007-6BCA-4970-A231-99788F1E9D2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08" y="1261"/>
                <a:ext cx="514" cy="386"/>
              </a:xfrm>
              <a:custGeom>
                <a:avLst/>
                <a:gdLst/>
                <a:ahLst/>
                <a:cxnLst>
                  <a:cxn ang="0">
                    <a:pos x="417" y="13"/>
                  </a:cxn>
                  <a:cxn ang="0">
                    <a:pos x="418" y="12"/>
                  </a:cxn>
                  <a:cxn ang="0">
                    <a:pos x="420" y="12"/>
                  </a:cxn>
                  <a:cxn ang="0">
                    <a:pos x="422" y="10"/>
                  </a:cxn>
                  <a:cxn ang="0">
                    <a:pos x="422" y="8"/>
                  </a:cxn>
                  <a:cxn ang="0">
                    <a:pos x="423" y="7"/>
                  </a:cxn>
                  <a:cxn ang="0">
                    <a:pos x="423" y="5"/>
                  </a:cxn>
                  <a:cxn ang="0">
                    <a:pos x="422" y="3"/>
                  </a:cxn>
                  <a:cxn ang="0">
                    <a:pos x="422" y="2"/>
                  </a:cxn>
                  <a:cxn ang="0">
                    <a:pos x="420" y="0"/>
                  </a:cxn>
                  <a:cxn ang="0">
                    <a:pos x="415" y="0"/>
                  </a:cxn>
                  <a:cxn ang="0">
                    <a:pos x="252" y="26"/>
                  </a:cxn>
                  <a:cxn ang="0">
                    <a:pos x="158" y="47"/>
                  </a:cxn>
                  <a:cxn ang="0">
                    <a:pos x="106" y="62"/>
                  </a:cxn>
                  <a:cxn ang="0">
                    <a:pos x="105" y="62"/>
                  </a:cxn>
                  <a:cxn ang="0">
                    <a:pos x="68" y="75"/>
                  </a:cxn>
                  <a:cxn ang="0">
                    <a:pos x="55" y="80"/>
                  </a:cxn>
                  <a:cxn ang="0">
                    <a:pos x="53" y="80"/>
                  </a:cxn>
                  <a:cxn ang="0">
                    <a:pos x="40" y="90"/>
                  </a:cxn>
                  <a:cxn ang="0">
                    <a:pos x="40" y="91"/>
                  </a:cxn>
                  <a:cxn ang="0">
                    <a:pos x="30" y="101"/>
                  </a:cxn>
                  <a:cxn ang="0">
                    <a:pos x="20" y="118"/>
                  </a:cxn>
                  <a:cxn ang="0">
                    <a:pos x="20" y="119"/>
                  </a:cxn>
                  <a:cxn ang="0">
                    <a:pos x="13" y="142"/>
                  </a:cxn>
                  <a:cxn ang="0">
                    <a:pos x="8" y="173"/>
                  </a:cxn>
                  <a:cxn ang="0">
                    <a:pos x="3" y="210"/>
                  </a:cxn>
                  <a:cxn ang="0">
                    <a:pos x="0" y="251"/>
                  </a:cxn>
                  <a:cxn ang="0">
                    <a:pos x="0" y="313"/>
                  </a:cxn>
                  <a:cxn ang="0">
                    <a:pos x="2" y="313"/>
                  </a:cxn>
                  <a:cxn ang="0">
                    <a:pos x="3" y="315"/>
                  </a:cxn>
                  <a:cxn ang="0">
                    <a:pos x="5" y="315"/>
                  </a:cxn>
                  <a:cxn ang="0">
                    <a:pos x="7" y="316"/>
                  </a:cxn>
                  <a:cxn ang="0">
                    <a:pos x="8" y="315"/>
                  </a:cxn>
                  <a:cxn ang="0">
                    <a:pos x="10" y="315"/>
                  </a:cxn>
                  <a:cxn ang="0">
                    <a:pos x="10" y="313"/>
                  </a:cxn>
                  <a:cxn ang="0">
                    <a:pos x="12" y="313"/>
                  </a:cxn>
                  <a:cxn ang="0">
                    <a:pos x="12" y="312"/>
                  </a:cxn>
                  <a:cxn ang="0">
                    <a:pos x="13" y="310"/>
                  </a:cxn>
                  <a:cxn ang="0">
                    <a:pos x="13" y="253"/>
                  </a:cxn>
                  <a:cxn ang="0">
                    <a:pos x="17" y="212"/>
                  </a:cxn>
                  <a:cxn ang="0">
                    <a:pos x="21" y="175"/>
                  </a:cxn>
                  <a:cxn ang="0">
                    <a:pos x="26" y="144"/>
                  </a:cxn>
                  <a:cxn ang="0">
                    <a:pos x="25" y="145"/>
                  </a:cxn>
                  <a:cxn ang="0">
                    <a:pos x="31" y="122"/>
                  </a:cxn>
                  <a:cxn ang="0">
                    <a:pos x="31" y="124"/>
                  </a:cxn>
                  <a:cxn ang="0">
                    <a:pos x="41" y="108"/>
                  </a:cxn>
                  <a:cxn ang="0">
                    <a:pos x="40" y="108"/>
                  </a:cxn>
                  <a:cxn ang="0">
                    <a:pos x="48" y="100"/>
                  </a:cxn>
                  <a:cxn ang="0">
                    <a:pos x="48" y="101"/>
                  </a:cxn>
                  <a:cxn ang="0">
                    <a:pos x="61" y="91"/>
                  </a:cxn>
                  <a:cxn ang="0">
                    <a:pos x="60" y="91"/>
                  </a:cxn>
                  <a:cxn ang="0">
                    <a:pos x="73" y="87"/>
                  </a:cxn>
                  <a:cxn ang="0">
                    <a:pos x="109" y="73"/>
                  </a:cxn>
                  <a:cxn ang="0">
                    <a:pos x="161" y="59"/>
                  </a:cxn>
                  <a:cxn ang="0">
                    <a:pos x="161" y="60"/>
                  </a:cxn>
                  <a:cxn ang="0">
                    <a:pos x="256" y="39"/>
                  </a:cxn>
                  <a:cxn ang="0">
                    <a:pos x="254" y="39"/>
                  </a:cxn>
                  <a:cxn ang="0">
                    <a:pos x="417" y="13"/>
                  </a:cxn>
                </a:cxnLst>
                <a:rect l="0" t="0" r="r" b="b"/>
                <a:pathLst>
                  <a:path w="423" h="316">
                    <a:moveTo>
                      <a:pt x="417" y="13"/>
                    </a:moveTo>
                    <a:lnTo>
                      <a:pt x="418" y="12"/>
                    </a:lnTo>
                    <a:lnTo>
                      <a:pt x="420" y="12"/>
                    </a:lnTo>
                    <a:lnTo>
                      <a:pt x="422" y="10"/>
                    </a:lnTo>
                    <a:lnTo>
                      <a:pt x="422" y="8"/>
                    </a:lnTo>
                    <a:lnTo>
                      <a:pt x="423" y="7"/>
                    </a:lnTo>
                    <a:lnTo>
                      <a:pt x="423" y="5"/>
                    </a:lnTo>
                    <a:lnTo>
                      <a:pt x="422" y="3"/>
                    </a:lnTo>
                    <a:lnTo>
                      <a:pt x="422" y="2"/>
                    </a:lnTo>
                    <a:lnTo>
                      <a:pt x="420" y="0"/>
                    </a:lnTo>
                    <a:lnTo>
                      <a:pt x="415" y="0"/>
                    </a:lnTo>
                    <a:lnTo>
                      <a:pt x="252" y="26"/>
                    </a:lnTo>
                    <a:lnTo>
                      <a:pt x="158" y="47"/>
                    </a:lnTo>
                    <a:lnTo>
                      <a:pt x="106" y="62"/>
                    </a:lnTo>
                    <a:lnTo>
                      <a:pt x="105" y="62"/>
                    </a:lnTo>
                    <a:lnTo>
                      <a:pt x="68" y="75"/>
                    </a:lnTo>
                    <a:lnTo>
                      <a:pt x="55" y="80"/>
                    </a:lnTo>
                    <a:lnTo>
                      <a:pt x="53" y="80"/>
                    </a:lnTo>
                    <a:lnTo>
                      <a:pt x="40" y="90"/>
                    </a:lnTo>
                    <a:lnTo>
                      <a:pt x="40" y="91"/>
                    </a:lnTo>
                    <a:lnTo>
                      <a:pt x="30" y="101"/>
                    </a:lnTo>
                    <a:lnTo>
                      <a:pt x="20" y="118"/>
                    </a:lnTo>
                    <a:lnTo>
                      <a:pt x="20" y="119"/>
                    </a:lnTo>
                    <a:lnTo>
                      <a:pt x="13" y="142"/>
                    </a:lnTo>
                    <a:lnTo>
                      <a:pt x="8" y="173"/>
                    </a:lnTo>
                    <a:lnTo>
                      <a:pt x="3" y="210"/>
                    </a:lnTo>
                    <a:lnTo>
                      <a:pt x="0" y="251"/>
                    </a:lnTo>
                    <a:lnTo>
                      <a:pt x="0" y="313"/>
                    </a:lnTo>
                    <a:lnTo>
                      <a:pt x="2" y="313"/>
                    </a:lnTo>
                    <a:lnTo>
                      <a:pt x="3" y="315"/>
                    </a:lnTo>
                    <a:lnTo>
                      <a:pt x="5" y="315"/>
                    </a:lnTo>
                    <a:lnTo>
                      <a:pt x="7" y="316"/>
                    </a:lnTo>
                    <a:lnTo>
                      <a:pt x="8" y="315"/>
                    </a:lnTo>
                    <a:lnTo>
                      <a:pt x="10" y="315"/>
                    </a:lnTo>
                    <a:lnTo>
                      <a:pt x="10" y="313"/>
                    </a:lnTo>
                    <a:lnTo>
                      <a:pt x="12" y="313"/>
                    </a:lnTo>
                    <a:lnTo>
                      <a:pt x="12" y="312"/>
                    </a:lnTo>
                    <a:lnTo>
                      <a:pt x="13" y="310"/>
                    </a:lnTo>
                    <a:lnTo>
                      <a:pt x="13" y="253"/>
                    </a:lnTo>
                    <a:lnTo>
                      <a:pt x="17" y="212"/>
                    </a:lnTo>
                    <a:lnTo>
                      <a:pt x="21" y="175"/>
                    </a:lnTo>
                    <a:lnTo>
                      <a:pt x="26" y="144"/>
                    </a:lnTo>
                    <a:lnTo>
                      <a:pt x="25" y="145"/>
                    </a:lnTo>
                    <a:lnTo>
                      <a:pt x="31" y="122"/>
                    </a:lnTo>
                    <a:lnTo>
                      <a:pt x="31" y="124"/>
                    </a:lnTo>
                    <a:lnTo>
                      <a:pt x="41" y="108"/>
                    </a:lnTo>
                    <a:lnTo>
                      <a:pt x="40" y="108"/>
                    </a:lnTo>
                    <a:lnTo>
                      <a:pt x="48" y="100"/>
                    </a:lnTo>
                    <a:lnTo>
                      <a:pt x="48" y="101"/>
                    </a:lnTo>
                    <a:lnTo>
                      <a:pt x="61" y="91"/>
                    </a:lnTo>
                    <a:lnTo>
                      <a:pt x="60" y="91"/>
                    </a:lnTo>
                    <a:lnTo>
                      <a:pt x="73" y="87"/>
                    </a:lnTo>
                    <a:lnTo>
                      <a:pt x="109" y="73"/>
                    </a:lnTo>
                    <a:lnTo>
                      <a:pt x="161" y="59"/>
                    </a:lnTo>
                    <a:lnTo>
                      <a:pt x="161" y="60"/>
                    </a:lnTo>
                    <a:lnTo>
                      <a:pt x="256" y="39"/>
                    </a:lnTo>
                    <a:lnTo>
                      <a:pt x="254" y="39"/>
                    </a:lnTo>
                    <a:lnTo>
                      <a:pt x="417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Freeform 70">
                <a:extLst>
                  <a:ext uri="{FF2B5EF4-FFF2-40B4-BE49-F238E27FC236}">
                    <a16:creationId xmlns:a16="http://schemas.microsoft.com/office/drawing/2014/main" id="{D2655B0A-4E0E-4A34-98B1-25016A85ED0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90" y="1112"/>
                <a:ext cx="33" cy="272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3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5" y="15"/>
                  </a:cxn>
                  <a:cxn ang="0">
                    <a:pos x="13" y="10"/>
                  </a:cxn>
                  <a:cxn ang="0">
                    <a:pos x="12" y="20"/>
                  </a:cxn>
                  <a:cxn ang="0">
                    <a:pos x="7" y="57"/>
                  </a:cxn>
                  <a:cxn ang="0">
                    <a:pos x="2" y="111"/>
                  </a:cxn>
                  <a:cxn ang="0">
                    <a:pos x="0" y="139"/>
                  </a:cxn>
                  <a:cxn ang="0">
                    <a:pos x="0" y="220"/>
                  </a:cxn>
                  <a:cxn ang="0">
                    <a:pos x="2" y="220"/>
                  </a:cxn>
                  <a:cxn ang="0">
                    <a:pos x="3" y="222"/>
                  </a:cxn>
                  <a:cxn ang="0">
                    <a:pos x="5" y="222"/>
                  </a:cxn>
                  <a:cxn ang="0">
                    <a:pos x="7" y="223"/>
                  </a:cxn>
                  <a:cxn ang="0">
                    <a:pos x="8" y="222"/>
                  </a:cxn>
                  <a:cxn ang="0">
                    <a:pos x="10" y="222"/>
                  </a:cxn>
                  <a:cxn ang="0">
                    <a:pos x="10" y="220"/>
                  </a:cxn>
                  <a:cxn ang="0">
                    <a:pos x="12" y="220"/>
                  </a:cxn>
                  <a:cxn ang="0">
                    <a:pos x="12" y="219"/>
                  </a:cxn>
                  <a:cxn ang="0">
                    <a:pos x="13" y="217"/>
                  </a:cxn>
                  <a:cxn ang="0">
                    <a:pos x="13" y="140"/>
                  </a:cxn>
                  <a:cxn ang="0">
                    <a:pos x="15" y="113"/>
                  </a:cxn>
                  <a:cxn ang="0">
                    <a:pos x="20" y="59"/>
                  </a:cxn>
                  <a:cxn ang="0">
                    <a:pos x="25" y="21"/>
                  </a:cxn>
                  <a:cxn ang="0">
                    <a:pos x="27" y="11"/>
                  </a:cxn>
                  <a:cxn ang="0">
                    <a:pos x="25" y="10"/>
                  </a:cxn>
                  <a:cxn ang="0">
                    <a:pos x="25" y="8"/>
                  </a:cxn>
                  <a:cxn ang="0">
                    <a:pos x="23" y="7"/>
                  </a:cxn>
                  <a:cxn ang="0">
                    <a:pos x="18" y="2"/>
                  </a:cxn>
                </a:cxnLst>
                <a:rect l="0" t="0" r="r" b="b"/>
                <a:pathLst>
                  <a:path w="27" h="223">
                    <a:moveTo>
                      <a:pt x="18" y="2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5" y="15"/>
                    </a:lnTo>
                    <a:lnTo>
                      <a:pt x="13" y="10"/>
                    </a:lnTo>
                    <a:lnTo>
                      <a:pt x="12" y="20"/>
                    </a:lnTo>
                    <a:lnTo>
                      <a:pt x="7" y="57"/>
                    </a:lnTo>
                    <a:lnTo>
                      <a:pt x="2" y="111"/>
                    </a:lnTo>
                    <a:lnTo>
                      <a:pt x="0" y="139"/>
                    </a:lnTo>
                    <a:lnTo>
                      <a:pt x="0" y="220"/>
                    </a:lnTo>
                    <a:lnTo>
                      <a:pt x="2" y="220"/>
                    </a:lnTo>
                    <a:lnTo>
                      <a:pt x="3" y="222"/>
                    </a:lnTo>
                    <a:lnTo>
                      <a:pt x="5" y="222"/>
                    </a:lnTo>
                    <a:lnTo>
                      <a:pt x="7" y="223"/>
                    </a:lnTo>
                    <a:lnTo>
                      <a:pt x="8" y="222"/>
                    </a:lnTo>
                    <a:lnTo>
                      <a:pt x="10" y="222"/>
                    </a:lnTo>
                    <a:lnTo>
                      <a:pt x="10" y="220"/>
                    </a:lnTo>
                    <a:lnTo>
                      <a:pt x="12" y="220"/>
                    </a:lnTo>
                    <a:lnTo>
                      <a:pt x="12" y="219"/>
                    </a:lnTo>
                    <a:lnTo>
                      <a:pt x="13" y="217"/>
                    </a:lnTo>
                    <a:lnTo>
                      <a:pt x="13" y="140"/>
                    </a:lnTo>
                    <a:lnTo>
                      <a:pt x="15" y="113"/>
                    </a:lnTo>
                    <a:lnTo>
                      <a:pt x="20" y="59"/>
                    </a:lnTo>
                    <a:lnTo>
                      <a:pt x="25" y="21"/>
                    </a:lnTo>
                    <a:lnTo>
                      <a:pt x="27" y="11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7"/>
                    </a:lnTo>
                    <a:lnTo>
                      <a:pt x="18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Freeform 71">
                <a:extLst>
                  <a:ext uri="{FF2B5EF4-FFF2-40B4-BE49-F238E27FC236}">
                    <a16:creationId xmlns:a16="http://schemas.microsoft.com/office/drawing/2014/main" id="{3F59F644-57BC-4ACD-A6ED-B59D102F553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77" y="1101"/>
                <a:ext cx="56" cy="260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45" y="8"/>
                  </a:cxn>
                  <a:cxn ang="0">
                    <a:pos x="46" y="6"/>
                  </a:cxn>
                  <a:cxn ang="0">
                    <a:pos x="46" y="4"/>
                  </a:cxn>
                  <a:cxn ang="0">
                    <a:pos x="45" y="3"/>
                  </a:cxn>
                  <a:cxn ang="0">
                    <a:pos x="45" y="1"/>
                  </a:cxn>
                  <a:cxn ang="0">
                    <a:pos x="43" y="1"/>
                  </a:cxn>
                  <a:cxn ang="0">
                    <a:pos x="41" y="0"/>
                  </a:cxn>
                  <a:cxn ang="0">
                    <a:pos x="35" y="0"/>
                  </a:cxn>
                  <a:cxn ang="0">
                    <a:pos x="35" y="1"/>
                  </a:cxn>
                  <a:cxn ang="0">
                    <a:pos x="25" y="13"/>
                  </a:cxn>
                  <a:cxn ang="0">
                    <a:pos x="23" y="14"/>
                  </a:cxn>
                  <a:cxn ang="0">
                    <a:pos x="15" y="32"/>
                  </a:cxn>
                  <a:cxn ang="0">
                    <a:pos x="15" y="34"/>
                  </a:cxn>
                  <a:cxn ang="0">
                    <a:pos x="10" y="62"/>
                  </a:cxn>
                  <a:cxn ang="0">
                    <a:pos x="5" y="96"/>
                  </a:cxn>
                  <a:cxn ang="0">
                    <a:pos x="3" y="124"/>
                  </a:cxn>
                  <a:cxn ang="0">
                    <a:pos x="0" y="161"/>
                  </a:cxn>
                  <a:cxn ang="0">
                    <a:pos x="0" y="210"/>
                  </a:cxn>
                  <a:cxn ang="0">
                    <a:pos x="2" y="210"/>
                  </a:cxn>
                  <a:cxn ang="0">
                    <a:pos x="3" y="212"/>
                  </a:cxn>
                  <a:cxn ang="0">
                    <a:pos x="5" y="212"/>
                  </a:cxn>
                  <a:cxn ang="0">
                    <a:pos x="7" y="213"/>
                  </a:cxn>
                  <a:cxn ang="0">
                    <a:pos x="8" y="212"/>
                  </a:cxn>
                  <a:cxn ang="0">
                    <a:pos x="10" y="212"/>
                  </a:cxn>
                  <a:cxn ang="0">
                    <a:pos x="10" y="210"/>
                  </a:cxn>
                  <a:cxn ang="0">
                    <a:pos x="12" y="210"/>
                  </a:cxn>
                  <a:cxn ang="0">
                    <a:pos x="12" y="208"/>
                  </a:cxn>
                  <a:cxn ang="0">
                    <a:pos x="13" y="207"/>
                  </a:cxn>
                  <a:cxn ang="0">
                    <a:pos x="13" y="163"/>
                  </a:cxn>
                  <a:cxn ang="0">
                    <a:pos x="16" y="125"/>
                  </a:cxn>
                  <a:cxn ang="0">
                    <a:pos x="18" y="97"/>
                  </a:cxn>
                  <a:cxn ang="0">
                    <a:pos x="23" y="63"/>
                  </a:cxn>
                  <a:cxn ang="0">
                    <a:pos x="28" y="35"/>
                  </a:cxn>
                  <a:cxn ang="0">
                    <a:pos x="26" y="37"/>
                  </a:cxn>
                  <a:cxn ang="0">
                    <a:pos x="35" y="19"/>
                  </a:cxn>
                  <a:cxn ang="0">
                    <a:pos x="35" y="21"/>
                  </a:cxn>
                  <a:cxn ang="0">
                    <a:pos x="45" y="9"/>
                  </a:cxn>
                </a:cxnLst>
                <a:rect l="0" t="0" r="r" b="b"/>
                <a:pathLst>
                  <a:path w="46" h="213">
                    <a:moveTo>
                      <a:pt x="45" y="9"/>
                    </a:moveTo>
                    <a:lnTo>
                      <a:pt x="45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5" y="3"/>
                    </a:lnTo>
                    <a:lnTo>
                      <a:pt x="45" y="1"/>
                    </a:lnTo>
                    <a:lnTo>
                      <a:pt x="43" y="1"/>
                    </a:lnTo>
                    <a:lnTo>
                      <a:pt x="41" y="0"/>
                    </a:lnTo>
                    <a:lnTo>
                      <a:pt x="35" y="0"/>
                    </a:lnTo>
                    <a:lnTo>
                      <a:pt x="35" y="1"/>
                    </a:lnTo>
                    <a:lnTo>
                      <a:pt x="25" y="13"/>
                    </a:lnTo>
                    <a:lnTo>
                      <a:pt x="23" y="14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0" y="62"/>
                    </a:lnTo>
                    <a:lnTo>
                      <a:pt x="5" y="96"/>
                    </a:lnTo>
                    <a:lnTo>
                      <a:pt x="3" y="124"/>
                    </a:lnTo>
                    <a:lnTo>
                      <a:pt x="0" y="161"/>
                    </a:lnTo>
                    <a:lnTo>
                      <a:pt x="0" y="210"/>
                    </a:lnTo>
                    <a:lnTo>
                      <a:pt x="2" y="210"/>
                    </a:lnTo>
                    <a:lnTo>
                      <a:pt x="3" y="212"/>
                    </a:lnTo>
                    <a:lnTo>
                      <a:pt x="5" y="212"/>
                    </a:lnTo>
                    <a:lnTo>
                      <a:pt x="7" y="213"/>
                    </a:lnTo>
                    <a:lnTo>
                      <a:pt x="8" y="212"/>
                    </a:lnTo>
                    <a:lnTo>
                      <a:pt x="10" y="212"/>
                    </a:lnTo>
                    <a:lnTo>
                      <a:pt x="10" y="210"/>
                    </a:lnTo>
                    <a:lnTo>
                      <a:pt x="12" y="210"/>
                    </a:lnTo>
                    <a:lnTo>
                      <a:pt x="12" y="208"/>
                    </a:lnTo>
                    <a:lnTo>
                      <a:pt x="13" y="207"/>
                    </a:lnTo>
                    <a:lnTo>
                      <a:pt x="13" y="163"/>
                    </a:lnTo>
                    <a:lnTo>
                      <a:pt x="16" y="125"/>
                    </a:lnTo>
                    <a:lnTo>
                      <a:pt x="18" y="97"/>
                    </a:lnTo>
                    <a:lnTo>
                      <a:pt x="23" y="63"/>
                    </a:lnTo>
                    <a:lnTo>
                      <a:pt x="28" y="35"/>
                    </a:lnTo>
                    <a:lnTo>
                      <a:pt x="26" y="37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45" y="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 72">
                <a:extLst>
                  <a:ext uri="{FF2B5EF4-FFF2-40B4-BE49-F238E27FC236}">
                    <a16:creationId xmlns:a16="http://schemas.microsoft.com/office/drawing/2014/main" id="{525732D5-CCA1-4455-BAED-18A7EC426F8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21" y="1144"/>
                <a:ext cx="31" cy="188"/>
              </a:xfrm>
              <a:custGeom>
                <a:avLst/>
                <a:gdLst/>
                <a:ahLst/>
                <a:cxnLst>
                  <a:cxn ang="0">
                    <a:pos x="25" y="7"/>
                  </a:cxn>
                  <a:cxn ang="0">
                    <a:pos x="25" y="5"/>
                  </a:cxn>
                  <a:cxn ang="0">
                    <a:pos x="24" y="4"/>
                  </a:cxn>
                  <a:cxn ang="0">
                    <a:pos x="24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12" y="5"/>
                  </a:cxn>
                  <a:cxn ang="0">
                    <a:pos x="7" y="45"/>
                  </a:cxn>
                  <a:cxn ang="0">
                    <a:pos x="4" y="95"/>
                  </a:cxn>
                  <a:cxn ang="0">
                    <a:pos x="0" y="133"/>
                  </a:cxn>
                  <a:cxn ang="0">
                    <a:pos x="0" y="151"/>
                  </a:cxn>
                  <a:cxn ang="0">
                    <a:pos x="2" y="151"/>
                  </a:cxn>
                  <a:cxn ang="0">
                    <a:pos x="4" y="152"/>
                  </a:cxn>
                  <a:cxn ang="0">
                    <a:pos x="5" y="152"/>
                  </a:cxn>
                  <a:cxn ang="0">
                    <a:pos x="7" y="154"/>
                  </a:cxn>
                  <a:cxn ang="0">
                    <a:pos x="9" y="152"/>
                  </a:cxn>
                  <a:cxn ang="0">
                    <a:pos x="10" y="152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2" y="149"/>
                  </a:cxn>
                  <a:cxn ang="0">
                    <a:pos x="14" y="147"/>
                  </a:cxn>
                  <a:cxn ang="0">
                    <a:pos x="14" y="134"/>
                  </a:cxn>
                  <a:cxn ang="0">
                    <a:pos x="17" y="97"/>
                  </a:cxn>
                  <a:cxn ang="0">
                    <a:pos x="20" y="46"/>
                  </a:cxn>
                  <a:cxn ang="0">
                    <a:pos x="25" y="7"/>
                  </a:cxn>
                </a:cxnLst>
                <a:rect l="0" t="0" r="r" b="b"/>
                <a:pathLst>
                  <a:path w="25" h="154">
                    <a:moveTo>
                      <a:pt x="25" y="7"/>
                    </a:moveTo>
                    <a:lnTo>
                      <a:pt x="25" y="5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5"/>
                    </a:lnTo>
                    <a:lnTo>
                      <a:pt x="7" y="45"/>
                    </a:lnTo>
                    <a:lnTo>
                      <a:pt x="4" y="95"/>
                    </a:lnTo>
                    <a:lnTo>
                      <a:pt x="0" y="133"/>
                    </a:lnTo>
                    <a:lnTo>
                      <a:pt x="0" y="151"/>
                    </a:lnTo>
                    <a:lnTo>
                      <a:pt x="2" y="151"/>
                    </a:lnTo>
                    <a:lnTo>
                      <a:pt x="4" y="152"/>
                    </a:lnTo>
                    <a:lnTo>
                      <a:pt x="5" y="152"/>
                    </a:lnTo>
                    <a:lnTo>
                      <a:pt x="7" y="154"/>
                    </a:lnTo>
                    <a:lnTo>
                      <a:pt x="9" y="152"/>
                    </a:lnTo>
                    <a:lnTo>
                      <a:pt x="10" y="152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2" y="149"/>
                    </a:lnTo>
                    <a:lnTo>
                      <a:pt x="14" y="147"/>
                    </a:lnTo>
                    <a:lnTo>
                      <a:pt x="14" y="134"/>
                    </a:lnTo>
                    <a:lnTo>
                      <a:pt x="17" y="97"/>
                    </a:lnTo>
                    <a:lnTo>
                      <a:pt x="20" y="46"/>
                    </a:lnTo>
                    <a:lnTo>
                      <a:pt x="25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" name="Freeform 73">
                <a:extLst>
                  <a:ext uri="{FF2B5EF4-FFF2-40B4-BE49-F238E27FC236}">
                    <a16:creationId xmlns:a16="http://schemas.microsoft.com/office/drawing/2014/main" id="{BD273BE2-D29E-48AA-AC83-6981CBBF2C8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014" y="1147"/>
                <a:ext cx="29" cy="171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4"/>
                  </a:cxn>
                  <a:cxn ang="0">
                    <a:pos x="23" y="3"/>
                  </a:cxn>
                  <a:cxn ang="0">
                    <a:pos x="23" y="1"/>
                  </a:cxn>
                  <a:cxn ang="0">
                    <a:pos x="21" y="1"/>
                  </a:cxn>
                  <a:cxn ang="0">
                    <a:pos x="19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4" y="39"/>
                  </a:cxn>
                  <a:cxn ang="0">
                    <a:pos x="3" y="75"/>
                  </a:cxn>
                  <a:cxn ang="0">
                    <a:pos x="0" y="114"/>
                  </a:cxn>
                  <a:cxn ang="0">
                    <a:pos x="0" y="137"/>
                  </a:cxn>
                  <a:cxn ang="0">
                    <a:pos x="1" y="137"/>
                  </a:cxn>
                  <a:cxn ang="0">
                    <a:pos x="3" y="138"/>
                  </a:cxn>
                  <a:cxn ang="0">
                    <a:pos x="4" y="138"/>
                  </a:cxn>
                  <a:cxn ang="0">
                    <a:pos x="6" y="140"/>
                  </a:cxn>
                  <a:cxn ang="0">
                    <a:pos x="8" y="138"/>
                  </a:cxn>
                  <a:cxn ang="0">
                    <a:pos x="9" y="138"/>
                  </a:cxn>
                  <a:cxn ang="0">
                    <a:pos x="9" y="137"/>
                  </a:cxn>
                  <a:cxn ang="0">
                    <a:pos x="11" y="137"/>
                  </a:cxn>
                  <a:cxn ang="0">
                    <a:pos x="11" y="135"/>
                  </a:cxn>
                  <a:cxn ang="0">
                    <a:pos x="13" y="133"/>
                  </a:cxn>
                  <a:cxn ang="0">
                    <a:pos x="13" y="115"/>
                  </a:cxn>
                  <a:cxn ang="0">
                    <a:pos x="16" y="76"/>
                  </a:cxn>
                  <a:cxn ang="0">
                    <a:pos x="18" y="40"/>
                  </a:cxn>
                  <a:cxn ang="0">
                    <a:pos x="24" y="6"/>
                  </a:cxn>
                </a:cxnLst>
                <a:rect l="0" t="0" r="r" b="b"/>
                <a:pathLst>
                  <a:path w="24" h="140">
                    <a:moveTo>
                      <a:pt x="24" y="6"/>
                    </a:moveTo>
                    <a:lnTo>
                      <a:pt x="24" y="4"/>
                    </a:lnTo>
                    <a:lnTo>
                      <a:pt x="23" y="3"/>
                    </a:lnTo>
                    <a:lnTo>
                      <a:pt x="23" y="1"/>
                    </a:lnTo>
                    <a:lnTo>
                      <a:pt x="21" y="1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4" y="39"/>
                    </a:lnTo>
                    <a:lnTo>
                      <a:pt x="3" y="75"/>
                    </a:lnTo>
                    <a:lnTo>
                      <a:pt x="0" y="114"/>
                    </a:lnTo>
                    <a:lnTo>
                      <a:pt x="0" y="137"/>
                    </a:lnTo>
                    <a:lnTo>
                      <a:pt x="1" y="137"/>
                    </a:lnTo>
                    <a:lnTo>
                      <a:pt x="3" y="138"/>
                    </a:lnTo>
                    <a:lnTo>
                      <a:pt x="4" y="138"/>
                    </a:lnTo>
                    <a:lnTo>
                      <a:pt x="6" y="140"/>
                    </a:lnTo>
                    <a:lnTo>
                      <a:pt x="8" y="138"/>
                    </a:lnTo>
                    <a:lnTo>
                      <a:pt x="9" y="138"/>
                    </a:lnTo>
                    <a:lnTo>
                      <a:pt x="9" y="137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3" y="133"/>
                    </a:lnTo>
                    <a:lnTo>
                      <a:pt x="13" y="115"/>
                    </a:lnTo>
                    <a:lnTo>
                      <a:pt x="16" y="76"/>
                    </a:lnTo>
                    <a:lnTo>
                      <a:pt x="18" y="40"/>
                    </a:lnTo>
                    <a:lnTo>
                      <a:pt x="24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Freeform 74">
                <a:extLst>
                  <a:ext uri="{FF2B5EF4-FFF2-40B4-BE49-F238E27FC236}">
                    <a16:creationId xmlns:a16="http://schemas.microsoft.com/office/drawing/2014/main" id="{0D4E465F-08CE-4F6D-83BE-C3A6DB6BD38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20" y="1204"/>
                <a:ext cx="36" cy="4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29"/>
                  </a:cxn>
                  <a:cxn ang="0">
                    <a:pos x="2" y="31"/>
                  </a:cxn>
                  <a:cxn ang="0">
                    <a:pos x="2" y="32"/>
                  </a:cxn>
                  <a:cxn ang="0">
                    <a:pos x="4" y="32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3" y="27"/>
                  </a:cxn>
                  <a:cxn ang="0">
                    <a:pos x="15" y="13"/>
                  </a:cxn>
                  <a:cxn ang="0">
                    <a:pos x="12" y="16"/>
                  </a:cxn>
                  <a:cxn ang="0">
                    <a:pos x="17" y="11"/>
                  </a:cxn>
                  <a:cxn ang="0">
                    <a:pos x="15" y="13"/>
                  </a:cxn>
                  <a:cxn ang="0">
                    <a:pos x="20" y="11"/>
                  </a:cxn>
                  <a:cxn ang="0">
                    <a:pos x="13" y="10"/>
                  </a:cxn>
                  <a:cxn ang="0">
                    <a:pos x="20" y="16"/>
                  </a:cxn>
                  <a:cxn ang="0">
                    <a:pos x="22" y="16"/>
                  </a:cxn>
                  <a:cxn ang="0">
                    <a:pos x="23" y="18"/>
                  </a:cxn>
                  <a:cxn ang="0">
                    <a:pos x="25" y="16"/>
                  </a:cxn>
                  <a:cxn ang="0">
                    <a:pos x="27" y="16"/>
                  </a:cxn>
                  <a:cxn ang="0">
                    <a:pos x="27" y="14"/>
                  </a:cxn>
                  <a:cxn ang="0">
                    <a:pos x="28" y="14"/>
                  </a:cxn>
                  <a:cxn ang="0">
                    <a:pos x="28" y="13"/>
                  </a:cxn>
                  <a:cxn ang="0">
                    <a:pos x="30" y="11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27" y="6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0" y="1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2" y="11"/>
                  </a:cxn>
                  <a:cxn ang="0">
                    <a:pos x="0" y="26"/>
                  </a:cxn>
                </a:cxnLst>
                <a:rect l="0" t="0" r="r" b="b"/>
                <a:pathLst>
                  <a:path w="30" h="34">
                    <a:moveTo>
                      <a:pt x="0" y="26"/>
                    </a:moveTo>
                    <a:lnTo>
                      <a:pt x="0" y="29"/>
                    </a:lnTo>
                    <a:lnTo>
                      <a:pt x="2" y="31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3" y="27"/>
                    </a:lnTo>
                    <a:lnTo>
                      <a:pt x="15" y="13"/>
                    </a:lnTo>
                    <a:lnTo>
                      <a:pt x="12" y="16"/>
                    </a:lnTo>
                    <a:lnTo>
                      <a:pt x="17" y="11"/>
                    </a:lnTo>
                    <a:lnTo>
                      <a:pt x="15" y="13"/>
                    </a:lnTo>
                    <a:lnTo>
                      <a:pt x="20" y="11"/>
                    </a:lnTo>
                    <a:lnTo>
                      <a:pt x="13" y="10"/>
                    </a:lnTo>
                    <a:lnTo>
                      <a:pt x="20" y="16"/>
                    </a:lnTo>
                    <a:lnTo>
                      <a:pt x="22" y="16"/>
                    </a:lnTo>
                    <a:lnTo>
                      <a:pt x="23" y="18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8" y="14"/>
                    </a:lnTo>
                    <a:lnTo>
                      <a:pt x="28" y="13"/>
                    </a:lnTo>
                    <a:lnTo>
                      <a:pt x="30" y="11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7" y="6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" name="Freeform 75">
                <a:extLst>
                  <a:ext uri="{FF2B5EF4-FFF2-40B4-BE49-F238E27FC236}">
                    <a16:creationId xmlns:a16="http://schemas.microsoft.com/office/drawing/2014/main" id="{3410912E-27F4-4884-AB50-04768156BCA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82" y="1205"/>
                <a:ext cx="40" cy="3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5" y="19"/>
                  </a:cxn>
                  <a:cxn ang="0">
                    <a:pos x="5" y="21"/>
                  </a:cxn>
                  <a:cxn ang="0">
                    <a:pos x="8" y="26"/>
                  </a:cxn>
                  <a:cxn ang="0">
                    <a:pos x="10" y="27"/>
                  </a:cxn>
                  <a:cxn ang="0">
                    <a:pos x="12" y="27"/>
                  </a:cxn>
                  <a:cxn ang="0">
                    <a:pos x="13" y="29"/>
                  </a:cxn>
                  <a:cxn ang="0">
                    <a:pos x="21" y="29"/>
                  </a:cxn>
                  <a:cxn ang="0">
                    <a:pos x="23" y="27"/>
                  </a:cxn>
                  <a:cxn ang="0">
                    <a:pos x="25" y="27"/>
                  </a:cxn>
                  <a:cxn ang="0">
                    <a:pos x="25" y="26"/>
                  </a:cxn>
                  <a:cxn ang="0">
                    <a:pos x="26" y="26"/>
                  </a:cxn>
                  <a:cxn ang="0">
                    <a:pos x="31" y="18"/>
                  </a:cxn>
                  <a:cxn ang="0">
                    <a:pos x="31" y="16"/>
                  </a:cxn>
                  <a:cxn ang="0">
                    <a:pos x="33" y="14"/>
                  </a:cxn>
                  <a:cxn ang="0">
                    <a:pos x="33" y="13"/>
                  </a:cxn>
                  <a:cxn ang="0">
                    <a:pos x="31" y="11"/>
                  </a:cxn>
                  <a:cxn ang="0">
                    <a:pos x="31" y="10"/>
                  </a:cxn>
                  <a:cxn ang="0">
                    <a:pos x="30" y="8"/>
                  </a:cxn>
                  <a:cxn ang="0">
                    <a:pos x="23" y="8"/>
                  </a:cxn>
                  <a:cxn ang="0">
                    <a:pos x="20" y="11"/>
                  </a:cxn>
                  <a:cxn ang="0">
                    <a:pos x="15" y="19"/>
                  </a:cxn>
                  <a:cxn ang="0">
                    <a:pos x="21" y="16"/>
                  </a:cxn>
                  <a:cxn ang="0">
                    <a:pos x="15" y="16"/>
                  </a:cxn>
                  <a:cxn ang="0">
                    <a:pos x="20" y="18"/>
                  </a:cxn>
                  <a:cxn ang="0">
                    <a:pos x="16" y="13"/>
                  </a:cxn>
                  <a:cxn ang="0">
                    <a:pos x="16" y="14"/>
                  </a:cxn>
                  <a:cxn ang="0">
                    <a:pos x="12" y="3"/>
                  </a:cxn>
                </a:cxnLst>
                <a:rect l="0" t="0" r="r" b="b"/>
                <a:pathLst>
                  <a:path w="33" h="29">
                    <a:moveTo>
                      <a:pt x="12" y="3"/>
                    </a:move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8" y="26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3" y="29"/>
                    </a:lnTo>
                    <a:lnTo>
                      <a:pt x="21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6" y="26"/>
                    </a:lnTo>
                    <a:lnTo>
                      <a:pt x="31" y="18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31" y="10"/>
                    </a:lnTo>
                    <a:lnTo>
                      <a:pt x="30" y="8"/>
                    </a:lnTo>
                    <a:lnTo>
                      <a:pt x="23" y="8"/>
                    </a:lnTo>
                    <a:lnTo>
                      <a:pt x="20" y="11"/>
                    </a:lnTo>
                    <a:lnTo>
                      <a:pt x="15" y="19"/>
                    </a:lnTo>
                    <a:lnTo>
                      <a:pt x="21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" name="Freeform 76">
                <a:extLst>
                  <a:ext uri="{FF2B5EF4-FFF2-40B4-BE49-F238E27FC236}">
                    <a16:creationId xmlns:a16="http://schemas.microsoft.com/office/drawing/2014/main" id="{0A27A5DD-C6EF-4479-97E7-8F45834211B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913" y="1194"/>
                <a:ext cx="22" cy="6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16" y="5"/>
                  </a:cxn>
                  <a:cxn ang="0">
                    <a:pos x="16" y="3"/>
                  </a:cxn>
                  <a:cxn ang="0">
                    <a:pos x="15" y="2"/>
                  </a:cxn>
                  <a:cxn ang="0">
                    <a:pos x="15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5" y="31"/>
                  </a:cxn>
                  <a:cxn ang="0">
                    <a:pos x="16" y="26"/>
                  </a:cxn>
                  <a:cxn ang="0">
                    <a:pos x="11" y="20"/>
                  </a:cxn>
                  <a:cxn ang="0">
                    <a:pos x="10" y="18"/>
                  </a:cxn>
                  <a:cxn ang="0">
                    <a:pos x="2" y="18"/>
                  </a:cxn>
                  <a:cxn ang="0">
                    <a:pos x="0" y="20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1"/>
                  </a:cxn>
                  <a:cxn ang="0">
                    <a:pos x="5" y="51"/>
                  </a:cxn>
                  <a:cxn ang="0">
                    <a:pos x="6" y="52"/>
                  </a:cxn>
                  <a:cxn ang="0">
                    <a:pos x="8" y="51"/>
                  </a:cxn>
                  <a:cxn ang="0">
                    <a:pos x="10" y="51"/>
                  </a:cxn>
                  <a:cxn ang="0">
                    <a:pos x="10" y="49"/>
                  </a:cxn>
                  <a:cxn ang="0">
                    <a:pos x="11" y="49"/>
                  </a:cxn>
                  <a:cxn ang="0">
                    <a:pos x="11" y="47"/>
                  </a:cxn>
                  <a:cxn ang="0">
                    <a:pos x="13" y="46"/>
                  </a:cxn>
                  <a:cxn ang="0">
                    <a:pos x="13" y="24"/>
                  </a:cxn>
                  <a:cxn ang="0">
                    <a:pos x="0" y="28"/>
                  </a:cxn>
                  <a:cxn ang="0">
                    <a:pos x="5" y="34"/>
                  </a:cxn>
                  <a:cxn ang="0">
                    <a:pos x="6" y="34"/>
                  </a:cxn>
                  <a:cxn ang="0">
                    <a:pos x="8" y="36"/>
                  </a:cxn>
                  <a:cxn ang="0">
                    <a:pos x="10" y="36"/>
                  </a:cxn>
                  <a:cxn ang="0">
                    <a:pos x="11" y="38"/>
                  </a:cxn>
                  <a:cxn ang="0">
                    <a:pos x="13" y="36"/>
                  </a:cxn>
                  <a:cxn ang="0">
                    <a:pos x="15" y="36"/>
                  </a:cxn>
                  <a:cxn ang="0">
                    <a:pos x="15" y="34"/>
                  </a:cxn>
                  <a:cxn ang="0">
                    <a:pos x="16" y="34"/>
                  </a:cxn>
                  <a:cxn ang="0">
                    <a:pos x="16" y="33"/>
                  </a:cxn>
                  <a:cxn ang="0">
                    <a:pos x="18" y="31"/>
                  </a:cxn>
                  <a:cxn ang="0">
                    <a:pos x="18" y="7"/>
                  </a:cxn>
                </a:cxnLst>
                <a:rect l="0" t="0" r="r" b="b"/>
                <a:pathLst>
                  <a:path w="18" h="52">
                    <a:moveTo>
                      <a:pt x="18" y="7"/>
                    </a:moveTo>
                    <a:lnTo>
                      <a:pt x="16" y="5"/>
                    </a:lnTo>
                    <a:lnTo>
                      <a:pt x="16" y="3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5" y="31"/>
                    </a:lnTo>
                    <a:lnTo>
                      <a:pt x="16" y="26"/>
                    </a:lnTo>
                    <a:lnTo>
                      <a:pt x="11" y="20"/>
                    </a:lnTo>
                    <a:lnTo>
                      <a:pt x="10" y="18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49"/>
                    </a:lnTo>
                    <a:lnTo>
                      <a:pt x="2" y="49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6" y="52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3" y="46"/>
                    </a:lnTo>
                    <a:lnTo>
                      <a:pt x="13" y="24"/>
                    </a:lnTo>
                    <a:lnTo>
                      <a:pt x="0" y="28"/>
                    </a:lnTo>
                    <a:lnTo>
                      <a:pt x="5" y="34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1" y="38"/>
                    </a:lnTo>
                    <a:lnTo>
                      <a:pt x="13" y="36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6" y="34"/>
                    </a:lnTo>
                    <a:lnTo>
                      <a:pt x="16" y="33"/>
                    </a:lnTo>
                    <a:lnTo>
                      <a:pt x="18" y="31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" name="Freeform 77">
                <a:extLst>
                  <a:ext uri="{FF2B5EF4-FFF2-40B4-BE49-F238E27FC236}">
                    <a16:creationId xmlns:a16="http://schemas.microsoft.com/office/drawing/2014/main" id="{8FC34110-F070-4398-9A94-F3D39B0126A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589" y="1636"/>
                <a:ext cx="198" cy="377"/>
              </a:xfrm>
              <a:custGeom>
                <a:avLst/>
                <a:gdLst/>
                <a:ahLst/>
                <a:cxnLst>
                  <a:cxn ang="0">
                    <a:pos x="156" y="306"/>
                  </a:cxn>
                  <a:cxn ang="0">
                    <a:pos x="158" y="305"/>
                  </a:cxn>
                  <a:cxn ang="0">
                    <a:pos x="159" y="305"/>
                  </a:cxn>
                  <a:cxn ang="0">
                    <a:pos x="161" y="303"/>
                  </a:cxn>
                  <a:cxn ang="0">
                    <a:pos x="161" y="301"/>
                  </a:cxn>
                  <a:cxn ang="0">
                    <a:pos x="163" y="300"/>
                  </a:cxn>
                  <a:cxn ang="0">
                    <a:pos x="163" y="298"/>
                  </a:cxn>
                  <a:cxn ang="0">
                    <a:pos x="161" y="296"/>
                  </a:cxn>
                  <a:cxn ang="0">
                    <a:pos x="161" y="295"/>
                  </a:cxn>
                  <a:cxn ang="0">
                    <a:pos x="159" y="293"/>
                  </a:cxn>
                  <a:cxn ang="0">
                    <a:pos x="154" y="293"/>
                  </a:cxn>
                  <a:cxn ang="0">
                    <a:pos x="131" y="296"/>
                  </a:cxn>
                  <a:cxn ang="0">
                    <a:pos x="133" y="296"/>
                  </a:cxn>
                  <a:cxn ang="0">
                    <a:pos x="116" y="295"/>
                  </a:cxn>
                  <a:cxn ang="0">
                    <a:pos x="118" y="295"/>
                  </a:cxn>
                  <a:cxn ang="0">
                    <a:pos x="95" y="283"/>
                  </a:cxn>
                  <a:cxn ang="0">
                    <a:pos x="96" y="285"/>
                  </a:cxn>
                  <a:cxn ang="0">
                    <a:pos x="75" y="265"/>
                  </a:cxn>
                  <a:cxn ang="0">
                    <a:pos x="76" y="265"/>
                  </a:cxn>
                  <a:cxn ang="0">
                    <a:pos x="58" y="238"/>
                  </a:cxn>
                  <a:cxn ang="0">
                    <a:pos x="58" y="239"/>
                  </a:cxn>
                  <a:cxn ang="0">
                    <a:pos x="41" y="202"/>
                  </a:cxn>
                  <a:cxn ang="0">
                    <a:pos x="43" y="203"/>
                  </a:cxn>
                  <a:cxn ang="0">
                    <a:pos x="30" y="151"/>
                  </a:cxn>
                  <a:cxn ang="0">
                    <a:pos x="20" y="93"/>
                  </a:cxn>
                  <a:cxn ang="0">
                    <a:pos x="15" y="42"/>
                  </a:cxn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2" y="44"/>
                  </a:cxn>
                  <a:cxn ang="0">
                    <a:pos x="7" y="94"/>
                  </a:cxn>
                  <a:cxn ang="0">
                    <a:pos x="17" y="153"/>
                  </a:cxn>
                  <a:cxn ang="0">
                    <a:pos x="17" y="155"/>
                  </a:cxn>
                  <a:cxn ang="0">
                    <a:pos x="30" y="207"/>
                  </a:cxn>
                  <a:cxn ang="0">
                    <a:pos x="46" y="244"/>
                  </a:cxn>
                  <a:cxn ang="0">
                    <a:pos x="46" y="246"/>
                  </a:cxn>
                  <a:cxn ang="0">
                    <a:pos x="65" y="274"/>
                  </a:cxn>
                  <a:cxn ang="0">
                    <a:pos x="66" y="275"/>
                  </a:cxn>
                  <a:cxn ang="0">
                    <a:pos x="88" y="295"/>
                  </a:cxn>
                  <a:cxn ang="0">
                    <a:pos x="90" y="295"/>
                  </a:cxn>
                  <a:cxn ang="0">
                    <a:pos x="113" y="306"/>
                  </a:cxn>
                  <a:cxn ang="0">
                    <a:pos x="115" y="308"/>
                  </a:cxn>
                  <a:cxn ang="0">
                    <a:pos x="131" y="309"/>
                  </a:cxn>
                  <a:cxn ang="0">
                    <a:pos x="133" y="309"/>
                  </a:cxn>
                  <a:cxn ang="0">
                    <a:pos x="156" y="306"/>
                  </a:cxn>
                </a:cxnLst>
                <a:rect l="0" t="0" r="r" b="b"/>
                <a:pathLst>
                  <a:path w="163" h="309">
                    <a:moveTo>
                      <a:pt x="156" y="306"/>
                    </a:moveTo>
                    <a:lnTo>
                      <a:pt x="158" y="305"/>
                    </a:lnTo>
                    <a:lnTo>
                      <a:pt x="159" y="305"/>
                    </a:lnTo>
                    <a:lnTo>
                      <a:pt x="161" y="303"/>
                    </a:lnTo>
                    <a:lnTo>
                      <a:pt x="161" y="301"/>
                    </a:lnTo>
                    <a:lnTo>
                      <a:pt x="163" y="300"/>
                    </a:lnTo>
                    <a:lnTo>
                      <a:pt x="163" y="298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59" y="293"/>
                    </a:lnTo>
                    <a:lnTo>
                      <a:pt x="154" y="293"/>
                    </a:lnTo>
                    <a:lnTo>
                      <a:pt x="131" y="296"/>
                    </a:lnTo>
                    <a:lnTo>
                      <a:pt x="133" y="296"/>
                    </a:lnTo>
                    <a:lnTo>
                      <a:pt x="116" y="295"/>
                    </a:lnTo>
                    <a:lnTo>
                      <a:pt x="118" y="295"/>
                    </a:lnTo>
                    <a:lnTo>
                      <a:pt x="95" y="283"/>
                    </a:lnTo>
                    <a:lnTo>
                      <a:pt x="96" y="285"/>
                    </a:lnTo>
                    <a:lnTo>
                      <a:pt x="75" y="265"/>
                    </a:lnTo>
                    <a:lnTo>
                      <a:pt x="76" y="265"/>
                    </a:lnTo>
                    <a:lnTo>
                      <a:pt x="58" y="238"/>
                    </a:lnTo>
                    <a:lnTo>
                      <a:pt x="58" y="239"/>
                    </a:lnTo>
                    <a:lnTo>
                      <a:pt x="41" y="202"/>
                    </a:lnTo>
                    <a:lnTo>
                      <a:pt x="43" y="203"/>
                    </a:lnTo>
                    <a:lnTo>
                      <a:pt x="30" y="151"/>
                    </a:lnTo>
                    <a:lnTo>
                      <a:pt x="20" y="93"/>
                    </a:lnTo>
                    <a:lnTo>
                      <a:pt x="15" y="42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44"/>
                    </a:lnTo>
                    <a:lnTo>
                      <a:pt x="7" y="94"/>
                    </a:lnTo>
                    <a:lnTo>
                      <a:pt x="17" y="153"/>
                    </a:lnTo>
                    <a:lnTo>
                      <a:pt x="17" y="155"/>
                    </a:lnTo>
                    <a:lnTo>
                      <a:pt x="30" y="207"/>
                    </a:lnTo>
                    <a:lnTo>
                      <a:pt x="46" y="244"/>
                    </a:lnTo>
                    <a:lnTo>
                      <a:pt x="46" y="246"/>
                    </a:lnTo>
                    <a:lnTo>
                      <a:pt x="65" y="274"/>
                    </a:lnTo>
                    <a:lnTo>
                      <a:pt x="66" y="275"/>
                    </a:lnTo>
                    <a:lnTo>
                      <a:pt x="88" y="295"/>
                    </a:lnTo>
                    <a:lnTo>
                      <a:pt x="90" y="295"/>
                    </a:lnTo>
                    <a:lnTo>
                      <a:pt x="113" y="306"/>
                    </a:lnTo>
                    <a:lnTo>
                      <a:pt x="115" y="308"/>
                    </a:lnTo>
                    <a:lnTo>
                      <a:pt x="131" y="309"/>
                    </a:lnTo>
                    <a:lnTo>
                      <a:pt x="133" y="309"/>
                    </a:lnTo>
                    <a:lnTo>
                      <a:pt x="156" y="30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2" name="Freeform 78">
                <a:extLst>
                  <a:ext uri="{FF2B5EF4-FFF2-40B4-BE49-F238E27FC236}">
                    <a16:creationId xmlns:a16="http://schemas.microsoft.com/office/drawing/2014/main" id="{9E21FAF2-B3FC-4928-824E-211193C411A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22" y="1548"/>
                <a:ext cx="583" cy="52"/>
              </a:xfrm>
              <a:custGeom>
                <a:avLst/>
                <a:gdLst/>
                <a:ahLst/>
                <a:cxnLst>
                  <a:cxn ang="0">
                    <a:pos x="476" y="26"/>
                  </a:cxn>
                  <a:cxn ang="0">
                    <a:pos x="478" y="25"/>
                  </a:cxn>
                  <a:cxn ang="0">
                    <a:pos x="478" y="23"/>
                  </a:cxn>
                  <a:cxn ang="0">
                    <a:pos x="480" y="21"/>
                  </a:cxn>
                  <a:cxn ang="0">
                    <a:pos x="480" y="20"/>
                  </a:cxn>
                  <a:cxn ang="0">
                    <a:pos x="478" y="18"/>
                  </a:cxn>
                  <a:cxn ang="0">
                    <a:pos x="478" y="17"/>
                  </a:cxn>
                  <a:cxn ang="0">
                    <a:pos x="476" y="17"/>
                  </a:cxn>
                  <a:cxn ang="0">
                    <a:pos x="475" y="15"/>
                  </a:cxn>
                  <a:cxn ang="0">
                    <a:pos x="468" y="15"/>
                  </a:cxn>
                  <a:cxn ang="0">
                    <a:pos x="458" y="21"/>
                  </a:cxn>
                  <a:cxn ang="0">
                    <a:pos x="461" y="21"/>
                  </a:cxn>
                  <a:cxn ang="0">
                    <a:pos x="438" y="28"/>
                  </a:cxn>
                  <a:cxn ang="0">
                    <a:pos x="403" y="30"/>
                  </a:cxn>
                  <a:cxn ang="0">
                    <a:pos x="405" y="30"/>
                  </a:cxn>
                  <a:cxn ang="0">
                    <a:pos x="259" y="23"/>
                  </a:cxn>
                  <a:cxn ang="0">
                    <a:pos x="186" y="17"/>
                  </a:cxn>
                  <a:cxn ang="0">
                    <a:pos x="111" y="8"/>
                  </a:cxn>
                  <a:cxn ang="0">
                    <a:pos x="53" y="0"/>
                  </a:cxn>
                  <a:cxn ang="0">
                    <a:pos x="28" y="0"/>
                  </a:cxn>
                  <a:cxn ang="0">
                    <a:pos x="13" y="5"/>
                  </a:cxn>
                  <a:cxn ang="0">
                    <a:pos x="11" y="5"/>
                  </a:cxn>
                  <a:cxn ang="0">
                    <a:pos x="1" y="12"/>
                  </a:cxn>
                  <a:cxn ang="0">
                    <a:pos x="1" y="13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1" y="23"/>
                  </a:cxn>
                  <a:cxn ang="0">
                    <a:pos x="3" y="23"/>
                  </a:cxn>
                  <a:cxn ang="0">
                    <a:pos x="5" y="25"/>
                  </a:cxn>
                  <a:cxn ang="0">
                    <a:pos x="6" y="25"/>
                  </a:cxn>
                  <a:cxn ang="0">
                    <a:pos x="8" y="23"/>
                  </a:cxn>
                  <a:cxn ang="0">
                    <a:pos x="10" y="23"/>
                  </a:cxn>
                  <a:cxn ang="0">
                    <a:pos x="20" y="17"/>
                  </a:cxn>
                  <a:cxn ang="0">
                    <a:pos x="18" y="17"/>
                  </a:cxn>
                  <a:cxn ang="0">
                    <a:pos x="33" y="12"/>
                  </a:cxn>
                  <a:cxn ang="0">
                    <a:pos x="31" y="13"/>
                  </a:cxn>
                  <a:cxn ang="0">
                    <a:pos x="53" y="13"/>
                  </a:cxn>
                  <a:cxn ang="0">
                    <a:pos x="51" y="13"/>
                  </a:cxn>
                  <a:cxn ang="0">
                    <a:pos x="109" y="21"/>
                  </a:cxn>
                  <a:cxn ang="0">
                    <a:pos x="184" y="30"/>
                  </a:cxn>
                  <a:cxn ang="0">
                    <a:pos x="257" y="36"/>
                  </a:cxn>
                  <a:cxn ang="0">
                    <a:pos x="403" y="43"/>
                  </a:cxn>
                  <a:cxn ang="0">
                    <a:pos x="405" y="43"/>
                  </a:cxn>
                  <a:cxn ang="0">
                    <a:pos x="440" y="41"/>
                  </a:cxn>
                  <a:cxn ang="0">
                    <a:pos x="441" y="39"/>
                  </a:cxn>
                  <a:cxn ang="0">
                    <a:pos x="465" y="33"/>
                  </a:cxn>
                  <a:cxn ang="0">
                    <a:pos x="466" y="33"/>
                  </a:cxn>
                  <a:cxn ang="0">
                    <a:pos x="476" y="26"/>
                  </a:cxn>
                </a:cxnLst>
                <a:rect l="0" t="0" r="r" b="b"/>
                <a:pathLst>
                  <a:path w="480" h="43">
                    <a:moveTo>
                      <a:pt x="476" y="26"/>
                    </a:moveTo>
                    <a:lnTo>
                      <a:pt x="478" y="25"/>
                    </a:lnTo>
                    <a:lnTo>
                      <a:pt x="478" y="23"/>
                    </a:lnTo>
                    <a:lnTo>
                      <a:pt x="480" y="21"/>
                    </a:lnTo>
                    <a:lnTo>
                      <a:pt x="480" y="20"/>
                    </a:lnTo>
                    <a:lnTo>
                      <a:pt x="478" y="18"/>
                    </a:lnTo>
                    <a:lnTo>
                      <a:pt x="478" y="17"/>
                    </a:lnTo>
                    <a:lnTo>
                      <a:pt x="476" y="17"/>
                    </a:lnTo>
                    <a:lnTo>
                      <a:pt x="475" y="15"/>
                    </a:lnTo>
                    <a:lnTo>
                      <a:pt x="468" y="15"/>
                    </a:lnTo>
                    <a:lnTo>
                      <a:pt x="458" y="21"/>
                    </a:lnTo>
                    <a:lnTo>
                      <a:pt x="461" y="21"/>
                    </a:lnTo>
                    <a:lnTo>
                      <a:pt x="438" y="28"/>
                    </a:lnTo>
                    <a:lnTo>
                      <a:pt x="403" y="30"/>
                    </a:lnTo>
                    <a:lnTo>
                      <a:pt x="405" y="30"/>
                    </a:lnTo>
                    <a:lnTo>
                      <a:pt x="259" y="23"/>
                    </a:lnTo>
                    <a:lnTo>
                      <a:pt x="186" y="17"/>
                    </a:lnTo>
                    <a:lnTo>
                      <a:pt x="111" y="8"/>
                    </a:lnTo>
                    <a:lnTo>
                      <a:pt x="53" y="0"/>
                    </a:lnTo>
                    <a:lnTo>
                      <a:pt x="28" y="0"/>
                    </a:lnTo>
                    <a:lnTo>
                      <a:pt x="13" y="5"/>
                    </a:lnTo>
                    <a:lnTo>
                      <a:pt x="11" y="5"/>
                    </a:lnTo>
                    <a:lnTo>
                      <a:pt x="1" y="12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5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20" y="17"/>
                    </a:lnTo>
                    <a:lnTo>
                      <a:pt x="18" y="17"/>
                    </a:lnTo>
                    <a:lnTo>
                      <a:pt x="33" y="12"/>
                    </a:lnTo>
                    <a:lnTo>
                      <a:pt x="31" y="13"/>
                    </a:lnTo>
                    <a:lnTo>
                      <a:pt x="53" y="13"/>
                    </a:lnTo>
                    <a:lnTo>
                      <a:pt x="51" y="13"/>
                    </a:lnTo>
                    <a:lnTo>
                      <a:pt x="109" y="21"/>
                    </a:lnTo>
                    <a:lnTo>
                      <a:pt x="184" y="30"/>
                    </a:lnTo>
                    <a:lnTo>
                      <a:pt x="257" y="36"/>
                    </a:lnTo>
                    <a:lnTo>
                      <a:pt x="403" y="43"/>
                    </a:lnTo>
                    <a:lnTo>
                      <a:pt x="405" y="43"/>
                    </a:lnTo>
                    <a:lnTo>
                      <a:pt x="440" y="41"/>
                    </a:lnTo>
                    <a:lnTo>
                      <a:pt x="441" y="39"/>
                    </a:lnTo>
                    <a:lnTo>
                      <a:pt x="465" y="33"/>
                    </a:lnTo>
                    <a:lnTo>
                      <a:pt x="466" y="33"/>
                    </a:lnTo>
                    <a:lnTo>
                      <a:pt x="476" y="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3" name="Freeform 79">
                <a:extLst>
                  <a:ext uri="{FF2B5EF4-FFF2-40B4-BE49-F238E27FC236}">
                    <a16:creationId xmlns:a16="http://schemas.microsoft.com/office/drawing/2014/main" id="{F243C623-AE39-4D3E-A166-05975D575DF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39" y="1324"/>
                <a:ext cx="811" cy="485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0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3" y="85"/>
                  </a:cxn>
                  <a:cxn ang="0">
                    <a:pos x="10" y="154"/>
                  </a:cxn>
                  <a:cxn ang="0">
                    <a:pos x="20" y="203"/>
                  </a:cxn>
                  <a:cxn ang="0">
                    <a:pos x="50" y="287"/>
                  </a:cxn>
                  <a:cxn ang="0">
                    <a:pos x="66" y="315"/>
                  </a:cxn>
                  <a:cxn ang="0">
                    <a:pos x="95" y="340"/>
                  </a:cxn>
                  <a:cxn ang="0">
                    <a:pos x="120" y="349"/>
                  </a:cxn>
                  <a:cxn ang="0">
                    <a:pos x="159" y="364"/>
                  </a:cxn>
                  <a:cxn ang="0">
                    <a:pos x="247" y="382"/>
                  </a:cxn>
                  <a:cxn ang="0">
                    <a:pos x="339" y="390"/>
                  </a:cxn>
                  <a:cxn ang="0">
                    <a:pos x="407" y="392"/>
                  </a:cxn>
                  <a:cxn ang="0">
                    <a:pos x="477" y="397"/>
                  </a:cxn>
                  <a:cxn ang="0">
                    <a:pos x="606" y="393"/>
                  </a:cxn>
                  <a:cxn ang="0">
                    <a:pos x="614" y="392"/>
                  </a:cxn>
                  <a:cxn ang="0">
                    <a:pos x="628" y="374"/>
                  </a:cxn>
                  <a:cxn ang="0">
                    <a:pos x="634" y="354"/>
                  </a:cxn>
                  <a:cxn ang="0">
                    <a:pos x="644" y="345"/>
                  </a:cxn>
                  <a:cxn ang="0">
                    <a:pos x="663" y="336"/>
                  </a:cxn>
                  <a:cxn ang="0">
                    <a:pos x="666" y="335"/>
                  </a:cxn>
                  <a:cxn ang="0">
                    <a:pos x="668" y="332"/>
                  </a:cxn>
                  <a:cxn ang="0">
                    <a:pos x="666" y="328"/>
                  </a:cxn>
                  <a:cxn ang="0">
                    <a:pos x="664" y="325"/>
                  </a:cxn>
                  <a:cxn ang="0">
                    <a:pos x="636" y="335"/>
                  </a:cxn>
                  <a:cxn ang="0">
                    <a:pos x="634" y="336"/>
                  </a:cxn>
                  <a:cxn ang="0">
                    <a:pos x="623" y="348"/>
                  </a:cxn>
                  <a:cxn ang="0">
                    <a:pos x="616" y="367"/>
                  </a:cxn>
                  <a:cxn ang="0">
                    <a:pos x="606" y="380"/>
                  </a:cxn>
                  <a:cxn ang="0">
                    <a:pos x="604" y="380"/>
                  </a:cxn>
                  <a:cxn ang="0">
                    <a:pos x="591" y="384"/>
                  </a:cxn>
                  <a:cxn ang="0">
                    <a:pos x="407" y="379"/>
                  </a:cxn>
                  <a:cxn ang="0">
                    <a:pos x="284" y="372"/>
                  </a:cxn>
                  <a:cxn ang="0">
                    <a:pos x="208" y="363"/>
                  </a:cxn>
                  <a:cxn ang="0">
                    <a:pos x="163" y="351"/>
                  </a:cxn>
                  <a:cxn ang="0">
                    <a:pos x="101" y="328"/>
                  </a:cxn>
                  <a:cxn ang="0">
                    <a:pos x="76" y="307"/>
                  </a:cxn>
                  <a:cxn ang="0">
                    <a:pos x="61" y="283"/>
                  </a:cxn>
                  <a:cxn ang="0">
                    <a:pos x="47" y="252"/>
                  </a:cxn>
                  <a:cxn ang="0">
                    <a:pos x="33" y="199"/>
                  </a:cxn>
                  <a:cxn ang="0">
                    <a:pos x="18" y="105"/>
                  </a:cxn>
                  <a:cxn ang="0">
                    <a:pos x="13" y="5"/>
                  </a:cxn>
                </a:cxnLst>
                <a:rect l="0" t="0" r="r" b="b"/>
                <a:pathLst>
                  <a:path w="668" h="397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85"/>
                    </a:lnTo>
                    <a:lnTo>
                      <a:pt x="5" y="106"/>
                    </a:lnTo>
                    <a:lnTo>
                      <a:pt x="10" y="154"/>
                    </a:lnTo>
                    <a:lnTo>
                      <a:pt x="20" y="201"/>
                    </a:lnTo>
                    <a:lnTo>
                      <a:pt x="20" y="203"/>
                    </a:lnTo>
                    <a:lnTo>
                      <a:pt x="35" y="255"/>
                    </a:lnTo>
                    <a:lnTo>
                      <a:pt x="50" y="287"/>
                    </a:lnTo>
                    <a:lnTo>
                      <a:pt x="50" y="289"/>
                    </a:lnTo>
                    <a:lnTo>
                      <a:pt x="66" y="315"/>
                    </a:lnTo>
                    <a:lnTo>
                      <a:pt x="68" y="317"/>
                    </a:lnTo>
                    <a:lnTo>
                      <a:pt x="95" y="340"/>
                    </a:lnTo>
                    <a:lnTo>
                      <a:pt x="96" y="340"/>
                    </a:lnTo>
                    <a:lnTo>
                      <a:pt x="120" y="349"/>
                    </a:lnTo>
                    <a:lnTo>
                      <a:pt x="158" y="363"/>
                    </a:lnTo>
                    <a:lnTo>
                      <a:pt x="159" y="364"/>
                    </a:lnTo>
                    <a:lnTo>
                      <a:pt x="206" y="376"/>
                    </a:lnTo>
                    <a:lnTo>
                      <a:pt x="247" y="382"/>
                    </a:lnTo>
                    <a:lnTo>
                      <a:pt x="282" y="385"/>
                    </a:lnTo>
                    <a:lnTo>
                      <a:pt x="339" y="390"/>
                    </a:lnTo>
                    <a:lnTo>
                      <a:pt x="340" y="390"/>
                    </a:lnTo>
                    <a:lnTo>
                      <a:pt x="407" y="392"/>
                    </a:lnTo>
                    <a:lnTo>
                      <a:pt x="405" y="392"/>
                    </a:lnTo>
                    <a:lnTo>
                      <a:pt x="477" y="397"/>
                    </a:lnTo>
                    <a:lnTo>
                      <a:pt x="591" y="397"/>
                    </a:lnTo>
                    <a:lnTo>
                      <a:pt x="606" y="393"/>
                    </a:lnTo>
                    <a:lnTo>
                      <a:pt x="608" y="393"/>
                    </a:lnTo>
                    <a:lnTo>
                      <a:pt x="614" y="392"/>
                    </a:lnTo>
                    <a:lnTo>
                      <a:pt x="618" y="389"/>
                    </a:lnTo>
                    <a:lnTo>
                      <a:pt x="628" y="374"/>
                    </a:lnTo>
                    <a:lnTo>
                      <a:pt x="628" y="372"/>
                    </a:lnTo>
                    <a:lnTo>
                      <a:pt x="634" y="354"/>
                    </a:lnTo>
                    <a:lnTo>
                      <a:pt x="634" y="356"/>
                    </a:lnTo>
                    <a:lnTo>
                      <a:pt x="644" y="345"/>
                    </a:lnTo>
                    <a:lnTo>
                      <a:pt x="641" y="346"/>
                    </a:lnTo>
                    <a:lnTo>
                      <a:pt x="663" y="336"/>
                    </a:lnTo>
                    <a:lnTo>
                      <a:pt x="664" y="336"/>
                    </a:lnTo>
                    <a:lnTo>
                      <a:pt x="666" y="335"/>
                    </a:lnTo>
                    <a:lnTo>
                      <a:pt x="666" y="333"/>
                    </a:lnTo>
                    <a:lnTo>
                      <a:pt x="668" y="332"/>
                    </a:lnTo>
                    <a:lnTo>
                      <a:pt x="668" y="330"/>
                    </a:lnTo>
                    <a:lnTo>
                      <a:pt x="666" y="328"/>
                    </a:lnTo>
                    <a:lnTo>
                      <a:pt x="666" y="327"/>
                    </a:lnTo>
                    <a:lnTo>
                      <a:pt x="664" y="325"/>
                    </a:lnTo>
                    <a:lnTo>
                      <a:pt x="658" y="325"/>
                    </a:lnTo>
                    <a:lnTo>
                      <a:pt x="636" y="335"/>
                    </a:lnTo>
                    <a:lnTo>
                      <a:pt x="634" y="335"/>
                    </a:lnTo>
                    <a:lnTo>
                      <a:pt x="634" y="336"/>
                    </a:lnTo>
                    <a:lnTo>
                      <a:pt x="624" y="348"/>
                    </a:lnTo>
                    <a:lnTo>
                      <a:pt x="623" y="348"/>
                    </a:lnTo>
                    <a:lnTo>
                      <a:pt x="623" y="349"/>
                    </a:lnTo>
                    <a:lnTo>
                      <a:pt x="616" y="367"/>
                    </a:lnTo>
                    <a:lnTo>
                      <a:pt x="616" y="366"/>
                    </a:lnTo>
                    <a:lnTo>
                      <a:pt x="606" y="380"/>
                    </a:lnTo>
                    <a:lnTo>
                      <a:pt x="611" y="379"/>
                    </a:lnTo>
                    <a:lnTo>
                      <a:pt x="604" y="380"/>
                    </a:lnTo>
                    <a:lnTo>
                      <a:pt x="589" y="384"/>
                    </a:lnTo>
                    <a:lnTo>
                      <a:pt x="591" y="384"/>
                    </a:lnTo>
                    <a:lnTo>
                      <a:pt x="478" y="384"/>
                    </a:lnTo>
                    <a:lnTo>
                      <a:pt x="407" y="379"/>
                    </a:lnTo>
                    <a:lnTo>
                      <a:pt x="340" y="377"/>
                    </a:lnTo>
                    <a:lnTo>
                      <a:pt x="284" y="372"/>
                    </a:lnTo>
                    <a:lnTo>
                      <a:pt x="249" y="369"/>
                    </a:lnTo>
                    <a:lnTo>
                      <a:pt x="208" y="363"/>
                    </a:lnTo>
                    <a:lnTo>
                      <a:pt x="209" y="363"/>
                    </a:lnTo>
                    <a:lnTo>
                      <a:pt x="163" y="351"/>
                    </a:lnTo>
                    <a:lnTo>
                      <a:pt x="125" y="338"/>
                    </a:lnTo>
                    <a:lnTo>
                      <a:pt x="101" y="328"/>
                    </a:lnTo>
                    <a:lnTo>
                      <a:pt x="103" y="330"/>
                    </a:lnTo>
                    <a:lnTo>
                      <a:pt x="76" y="307"/>
                    </a:lnTo>
                    <a:lnTo>
                      <a:pt x="78" y="309"/>
                    </a:lnTo>
                    <a:lnTo>
                      <a:pt x="61" y="283"/>
                    </a:lnTo>
                    <a:lnTo>
                      <a:pt x="47" y="250"/>
                    </a:lnTo>
                    <a:lnTo>
                      <a:pt x="47" y="252"/>
                    </a:lnTo>
                    <a:lnTo>
                      <a:pt x="32" y="199"/>
                    </a:lnTo>
                    <a:lnTo>
                      <a:pt x="33" y="199"/>
                    </a:lnTo>
                    <a:lnTo>
                      <a:pt x="23" y="152"/>
                    </a:lnTo>
                    <a:lnTo>
                      <a:pt x="18" y="105"/>
                    </a:lnTo>
                    <a:lnTo>
                      <a:pt x="17" y="84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" name="Freeform 80">
                <a:extLst>
                  <a:ext uri="{FF2B5EF4-FFF2-40B4-BE49-F238E27FC236}">
                    <a16:creationId xmlns:a16="http://schemas.microsoft.com/office/drawing/2014/main" id="{B5C806DA-C016-4AAC-9404-3905ABC6400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4" y="1291"/>
                <a:ext cx="514" cy="318"/>
              </a:xfrm>
              <a:custGeom>
                <a:avLst/>
                <a:gdLst/>
                <a:ahLst/>
                <a:cxnLst>
                  <a:cxn ang="0">
                    <a:pos x="415" y="261"/>
                  </a:cxn>
                  <a:cxn ang="0">
                    <a:pos x="416" y="261"/>
                  </a:cxn>
                  <a:cxn ang="0">
                    <a:pos x="418" y="259"/>
                  </a:cxn>
                  <a:cxn ang="0">
                    <a:pos x="420" y="259"/>
                  </a:cxn>
                  <a:cxn ang="0">
                    <a:pos x="421" y="258"/>
                  </a:cxn>
                  <a:cxn ang="0">
                    <a:pos x="421" y="256"/>
                  </a:cxn>
                  <a:cxn ang="0">
                    <a:pos x="423" y="255"/>
                  </a:cxn>
                  <a:cxn ang="0">
                    <a:pos x="423" y="253"/>
                  </a:cxn>
                  <a:cxn ang="0">
                    <a:pos x="421" y="251"/>
                  </a:cxn>
                  <a:cxn ang="0">
                    <a:pos x="421" y="250"/>
                  </a:cxn>
                  <a:cxn ang="0">
                    <a:pos x="420" y="248"/>
                  </a:cxn>
                  <a:cxn ang="0">
                    <a:pos x="416" y="248"/>
                  </a:cxn>
                  <a:cxn ang="0">
                    <a:pos x="313" y="233"/>
                  </a:cxn>
                  <a:cxn ang="0">
                    <a:pos x="239" y="219"/>
                  </a:cxn>
                  <a:cxn ang="0">
                    <a:pos x="240" y="219"/>
                  </a:cxn>
                  <a:cxn ang="0">
                    <a:pos x="161" y="199"/>
                  </a:cxn>
                  <a:cxn ang="0">
                    <a:pos x="106" y="183"/>
                  </a:cxn>
                  <a:cxn ang="0">
                    <a:pos x="76" y="175"/>
                  </a:cxn>
                  <a:cxn ang="0">
                    <a:pos x="78" y="175"/>
                  </a:cxn>
                  <a:cxn ang="0">
                    <a:pos x="59" y="165"/>
                  </a:cxn>
                  <a:cxn ang="0">
                    <a:pos x="59" y="167"/>
                  </a:cxn>
                  <a:cxn ang="0">
                    <a:pos x="43" y="153"/>
                  </a:cxn>
                  <a:cxn ang="0">
                    <a:pos x="44" y="153"/>
                  </a:cxn>
                  <a:cxn ang="0">
                    <a:pos x="31" y="137"/>
                  </a:cxn>
                  <a:cxn ang="0">
                    <a:pos x="31" y="139"/>
                  </a:cxn>
                  <a:cxn ang="0">
                    <a:pos x="23" y="113"/>
                  </a:cxn>
                  <a:cxn ang="0">
                    <a:pos x="24" y="114"/>
                  </a:cxn>
                  <a:cxn ang="0">
                    <a:pos x="20" y="90"/>
                  </a:cxn>
                  <a:cxn ang="0">
                    <a:pos x="16" y="52"/>
                  </a:cxn>
                  <a:cxn ang="0">
                    <a:pos x="13" y="5"/>
                  </a:cxn>
                  <a:cxn ang="0">
                    <a:pos x="11" y="3"/>
                  </a:cxn>
                  <a:cxn ang="0">
                    <a:pos x="11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54"/>
                  </a:cxn>
                  <a:cxn ang="0">
                    <a:pos x="6" y="92"/>
                  </a:cxn>
                  <a:cxn ang="0">
                    <a:pos x="11" y="116"/>
                  </a:cxn>
                  <a:cxn ang="0">
                    <a:pos x="11" y="118"/>
                  </a:cxn>
                  <a:cxn ang="0">
                    <a:pos x="20" y="144"/>
                  </a:cxn>
                  <a:cxn ang="0">
                    <a:pos x="21" y="145"/>
                  </a:cxn>
                  <a:cxn ang="0">
                    <a:pos x="34" y="162"/>
                  </a:cxn>
                  <a:cxn ang="0">
                    <a:pos x="34" y="163"/>
                  </a:cxn>
                  <a:cxn ang="0">
                    <a:pos x="51" y="176"/>
                  </a:cxn>
                  <a:cxn ang="0">
                    <a:pos x="53" y="176"/>
                  </a:cxn>
                  <a:cxn ang="0">
                    <a:pos x="71" y="186"/>
                  </a:cxn>
                  <a:cxn ang="0">
                    <a:pos x="73" y="186"/>
                  </a:cxn>
                  <a:cxn ang="0">
                    <a:pos x="103" y="194"/>
                  </a:cxn>
                  <a:cxn ang="0">
                    <a:pos x="101" y="194"/>
                  </a:cxn>
                  <a:cxn ang="0">
                    <a:pos x="156" y="211"/>
                  </a:cxn>
                  <a:cxn ang="0">
                    <a:pos x="157" y="212"/>
                  </a:cxn>
                  <a:cxn ang="0">
                    <a:pos x="237" y="232"/>
                  </a:cxn>
                  <a:cxn ang="0">
                    <a:pos x="312" y="246"/>
                  </a:cxn>
                  <a:cxn ang="0">
                    <a:pos x="415" y="261"/>
                  </a:cxn>
                </a:cxnLst>
                <a:rect l="0" t="0" r="r" b="b"/>
                <a:pathLst>
                  <a:path w="423" h="261">
                    <a:moveTo>
                      <a:pt x="415" y="261"/>
                    </a:moveTo>
                    <a:lnTo>
                      <a:pt x="416" y="261"/>
                    </a:lnTo>
                    <a:lnTo>
                      <a:pt x="418" y="259"/>
                    </a:lnTo>
                    <a:lnTo>
                      <a:pt x="420" y="259"/>
                    </a:lnTo>
                    <a:lnTo>
                      <a:pt x="421" y="258"/>
                    </a:lnTo>
                    <a:lnTo>
                      <a:pt x="421" y="256"/>
                    </a:lnTo>
                    <a:lnTo>
                      <a:pt x="423" y="255"/>
                    </a:lnTo>
                    <a:lnTo>
                      <a:pt x="423" y="253"/>
                    </a:lnTo>
                    <a:lnTo>
                      <a:pt x="421" y="251"/>
                    </a:lnTo>
                    <a:lnTo>
                      <a:pt x="421" y="250"/>
                    </a:lnTo>
                    <a:lnTo>
                      <a:pt x="420" y="248"/>
                    </a:lnTo>
                    <a:lnTo>
                      <a:pt x="416" y="248"/>
                    </a:lnTo>
                    <a:lnTo>
                      <a:pt x="313" y="233"/>
                    </a:lnTo>
                    <a:lnTo>
                      <a:pt x="239" y="219"/>
                    </a:lnTo>
                    <a:lnTo>
                      <a:pt x="240" y="219"/>
                    </a:lnTo>
                    <a:lnTo>
                      <a:pt x="161" y="199"/>
                    </a:lnTo>
                    <a:lnTo>
                      <a:pt x="106" y="183"/>
                    </a:lnTo>
                    <a:lnTo>
                      <a:pt x="76" y="175"/>
                    </a:lnTo>
                    <a:lnTo>
                      <a:pt x="78" y="175"/>
                    </a:lnTo>
                    <a:lnTo>
                      <a:pt x="59" y="165"/>
                    </a:lnTo>
                    <a:lnTo>
                      <a:pt x="59" y="167"/>
                    </a:lnTo>
                    <a:lnTo>
                      <a:pt x="43" y="153"/>
                    </a:lnTo>
                    <a:lnTo>
                      <a:pt x="44" y="153"/>
                    </a:lnTo>
                    <a:lnTo>
                      <a:pt x="31" y="137"/>
                    </a:lnTo>
                    <a:lnTo>
                      <a:pt x="31" y="139"/>
                    </a:lnTo>
                    <a:lnTo>
                      <a:pt x="23" y="113"/>
                    </a:lnTo>
                    <a:lnTo>
                      <a:pt x="24" y="114"/>
                    </a:lnTo>
                    <a:lnTo>
                      <a:pt x="20" y="90"/>
                    </a:lnTo>
                    <a:lnTo>
                      <a:pt x="16" y="52"/>
                    </a:lnTo>
                    <a:lnTo>
                      <a:pt x="13" y="5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54"/>
                    </a:lnTo>
                    <a:lnTo>
                      <a:pt x="6" y="92"/>
                    </a:lnTo>
                    <a:lnTo>
                      <a:pt x="11" y="116"/>
                    </a:lnTo>
                    <a:lnTo>
                      <a:pt x="11" y="118"/>
                    </a:lnTo>
                    <a:lnTo>
                      <a:pt x="20" y="144"/>
                    </a:lnTo>
                    <a:lnTo>
                      <a:pt x="21" y="145"/>
                    </a:lnTo>
                    <a:lnTo>
                      <a:pt x="34" y="162"/>
                    </a:lnTo>
                    <a:lnTo>
                      <a:pt x="34" y="163"/>
                    </a:lnTo>
                    <a:lnTo>
                      <a:pt x="51" y="176"/>
                    </a:lnTo>
                    <a:lnTo>
                      <a:pt x="53" y="176"/>
                    </a:lnTo>
                    <a:lnTo>
                      <a:pt x="71" y="186"/>
                    </a:lnTo>
                    <a:lnTo>
                      <a:pt x="73" y="186"/>
                    </a:lnTo>
                    <a:lnTo>
                      <a:pt x="103" y="194"/>
                    </a:lnTo>
                    <a:lnTo>
                      <a:pt x="101" y="194"/>
                    </a:lnTo>
                    <a:lnTo>
                      <a:pt x="156" y="211"/>
                    </a:lnTo>
                    <a:lnTo>
                      <a:pt x="157" y="212"/>
                    </a:lnTo>
                    <a:lnTo>
                      <a:pt x="237" y="232"/>
                    </a:lnTo>
                    <a:lnTo>
                      <a:pt x="312" y="246"/>
                    </a:lnTo>
                    <a:lnTo>
                      <a:pt x="415" y="26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5" name="Freeform 81">
                <a:extLst>
                  <a:ext uri="{FF2B5EF4-FFF2-40B4-BE49-F238E27FC236}">
                    <a16:creationId xmlns:a16="http://schemas.microsoft.com/office/drawing/2014/main" id="{440A56EF-5753-4A9D-9FBF-BD7DAB2EC00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5" y="1294"/>
                <a:ext cx="510" cy="316"/>
              </a:xfrm>
              <a:custGeom>
                <a:avLst/>
                <a:gdLst/>
                <a:ahLst/>
                <a:cxnLst>
                  <a:cxn ang="0">
                    <a:pos x="412" y="259"/>
                  </a:cxn>
                  <a:cxn ang="0">
                    <a:pos x="413" y="259"/>
                  </a:cxn>
                  <a:cxn ang="0">
                    <a:pos x="415" y="257"/>
                  </a:cxn>
                  <a:cxn ang="0">
                    <a:pos x="417" y="257"/>
                  </a:cxn>
                  <a:cxn ang="0">
                    <a:pos x="418" y="256"/>
                  </a:cxn>
                  <a:cxn ang="0">
                    <a:pos x="418" y="254"/>
                  </a:cxn>
                  <a:cxn ang="0">
                    <a:pos x="420" y="253"/>
                  </a:cxn>
                  <a:cxn ang="0">
                    <a:pos x="420" y="251"/>
                  </a:cxn>
                  <a:cxn ang="0">
                    <a:pos x="418" y="249"/>
                  </a:cxn>
                  <a:cxn ang="0">
                    <a:pos x="418" y="248"/>
                  </a:cxn>
                  <a:cxn ang="0">
                    <a:pos x="417" y="248"/>
                  </a:cxn>
                  <a:cxn ang="0">
                    <a:pos x="415" y="246"/>
                  </a:cxn>
                  <a:cxn ang="0">
                    <a:pos x="413" y="246"/>
                  </a:cxn>
                  <a:cxn ang="0">
                    <a:pos x="294" y="227"/>
                  </a:cxn>
                  <a:cxn ang="0">
                    <a:pos x="295" y="227"/>
                  </a:cxn>
                  <a:cxn ang="0">
                    <a:pos x="202" y="205"/>
                  </a:cxn>
                  <a:cxn ang="0">
                    <a:pos x="149" y="189"/>
                  </a:cxn>
                  <a:cxn ang="0">
                    <a:pos x="103" y="173"/>
                  </a:cxn>
                  <a:cxn ang="0">
                    <a:pos x="73" y="165"/>
                  </a:cxn>
                  <a:cxn ang="0">
                    <a:pos x="56" y="156"/>
                  </a:cxn>
                  <a:cxn ang="0">
                    <a:pos x="58" y="158"/>
                  </a:cxn>
                  <a:cxn ang="0">
                    <a:pos x="45" y="147"/>
                  </a:cxn>
                  <a:cxn ang="0">
                    <a:pos x="46" y="147"/>
                  </a:cxn>
                  <a:cxn ang="0">
                    <a:pos x="31" y="130"/>
                  </a:cxn>
                  <a:cxn ang="0">
                    <a:pos x="31" y="132"/>
                  </a:cxn>
                  <a:cxn ang="0">
                    <a:pos x="23" y="106"/>
                  </a:cxn>
                  <a:cxn ang="0">
                    <a:pos x="25" y="107"/>
                  </a:cxn>
                  <a:cxn ang="0">
                    <a:pos x="17" y="63"/>
                  </a:cxn>
                  <a:cxn ang="0">
                    <a:pos x="13" y="5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65"/>
                  </a:cxn>
                  <a:cxn ang="0">
                    <a:pos x="12" y="109"/>
                  </a:cxn>
                  <a:cxn ang="0">
                    <a:pos x="12" y="111"/>
                  </a:cxn>
                  <a:cxn ang="0">
                    <a:pos x="20" y="137"/>
                  </a:cxn>
                  <a:cxn ang="0">
                    <a:pos x="21" y="138"/>
                  </a:cxn>
                  <a:cxn ang="0">
                    <a:pos x="36" y="155"/>
                  </a:cxn>
                  <a:cxn ang="0">
                    <a:pos x="36" y="156"/>
                  </a:cxn>
                  <a:cxn ang="0">
                    <a:pos x="50" y="168"/>
                  </a:cxn>
                  <a:cxn ang="0">
                    <a:pos x="51" y="168"/>
                  </a:cxn>
                  <a:cxn ang="0">
                    <a:pos x="68" y="176"/>
                  </a:cxn>
                  <a:cxn ang="0">
                    <a:pos x="70" y="176"/>
                  </a:cxn>
                  <a:cxn ang="0">
                    <a:pos x="100" y="184"/>
                  </a:cxn>
                  <a:cxn ang="0">
                    <a:pos x="98" y="184"/>
                  </a:cxn>
                  <a:cxn ang="0">
                    <a:pos x="144" y="200"/>
                  </a:cxn>
                  <a:cxn ang="0">
                    <a:pos x="197" y="217"/>
                  </a:cxn>
                  <a:cxn ang="0">
                    <a:pos x="199" y="218"/>
                  </a:cxn>
                  <a:cxn ang="0">
                    <a:pos x="292" y="240"/>
                  </a:cxn>
                  <a:cxn ang="0">
                    <a:pos x="412" y="259"/>
                  </a:cxn>
                </a:cxnLst>
                <a:rect l="0" t="0" r="r" b="b"/>
                <a:pathLst>
                  <a:path w="420" h="259">
                    <a:moveTo>
                      <a:pt x="412" y="259"/>
                    </a:moveTo>
                    <a:lnTo>
                      <a:pt x="413" y="259"/>
                    </a:lnTo>
                    <a:lnTo>
                      <a:pt x="415" y="257"/>
                    </a:lnTo>
                    <a:lnTo>
                      <a:pt x="417" y="257"/>
                    </a:lnTo>
                    <a:lnTo>
                      <a:pt x="418" y="256"/>
                    </a:lnTo>
                    <a:lnTo>
                      <a:pt x="418" y="254"/>
                    </a:lnTo>
                    <a:lnTo>
                      <a:pt x="420" y="253"/>
                    </a:lnTo>
                    <a:lnTo>
                      <a:pt x="420" y="251"/>
                    </a:lnTo>
                    <a:lnTo>
                      <a:pt x="418" y="249"/>
                    </a:lnTo>
                    <a:lnTo>
                      <a:pt x="418" y="248"/>
                    </a:lnTo>
                    <a:lnTo>
                      <a:pt x="417" y="248"/>
                    </a:lnTo>
                    <a:lnTo>
                      <a:pt x="415" y="246"/>
                    </a:lnTo>
                    <a:lnTo>
                      <a:pt x="413" y="246"/>
                    </a:lnTo>
                    <a:lnTo>
                      <a:pt x="294" y="227"/>
                    </a:lnTo>
                    <a:lnTo>
                      <a:pt x="295" y="227"/>
                    </a:lnTo>
                    <a:lnTo>
                      <a:pt x="202" y="205"/>
                    </a:lnTo>
                    <a:lnTo>
                      <a:pt x="149" y="189"/>
                    </a:lnTo>
                    <a:lnTo>
                      <a:pt x="103" y="173"/>
                    </a:lnTo>
                    <a:lnTo>
                      <a:pt x="73" y="165"/>
                    </a:lnTo>
                    <a:lnTo>
                      <a:pt x="56" y="156"/>
                    </a:lnTo>
                    <a:lnTo>
                      <a:pt x="58" y="158"/>
                    </a:lnTo>
                    <a:lnTo>
                      <a:pt x="45" y="147"/>
                    </a:lnTo>
                    <a:lnTo>
                      <a:pt x="46" y="147"/>
                    </a:lnTo>
                    <a:lnTo>
                      <a:pt x="31" y="130"/>
                    </a:lnTo>
                    <a:lnTo>
                      <a:pt x="31" y="132"/>
                    </a:lnTo>
                    <a:lnTo>
                      <a:pt x="23" y="106"/>
                    </a:lnTo>
                    <a:lnTo>
                      <a:pt x="25" y="107"/>
                    </a:lnTo>
                    <a:lnTo>
                      <a:pt x="17" y="6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5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20" y="137"/>
                    </a:lnTo>
                    <a:lnTo>
                      <a:pt x="21" y="138"/>
                    </a:lnTo>
                    <a:lnTo>
                      <a:pt x="36" y="155"/>
                    </a:lnTo>
                    <a:lnTo>
                      <a:pt x="36" y="156"/>
                    </a:lnTo>
                    <a:lnTo>
                      <a:pt x="50" y="168"/>
                    </a:lnTo>
                    <a:lnTo>
                      <a:pt x="51" y="168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100" y="184"/>
                    </a:lnTo>
                    <a:lnTo>
                      <a:pt x="98" y="184"/>
                    </a:lnTo>
                    <a:lnTo>
                      <a:pt x="144" y="200"/>
                    </a:lnTo>
                    <a:lnTo>
                      <a:pt x="197" y="217"/>
                    </a:lnTo>
                    <a:lnTo>
                      <a:pt x="199" y="218"/>
                    </a:lnTo>
                    <a:lnTo>
                      <a:pt x="292" y="240"/>
                    </a:lnTo>
                    <a:lnTo>
                      <a:pt x="412" y="25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" name="Freeform 82">
                <a:extLst>
                  <a:ext uri="{FF2B5EF4-FFF2-40B4-BE49-F238E27FC236}">
                    <a16:creationId xmlns:a16="http://schemas.microsoft.com/office/drawing/2014/main" id="{494523DA-092B-4E1B-9838-CE5DEFE6786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2" y="1153"/>
                <a:ext cx="28" cy="184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55"/>
                  </a:cxn>
                  <a:cxn ang="0">
                    <a:pos x="2" y="85"/>
                  </a:cxn>
                  <a:cxn ang="0">
                    <a:pos x="5" y="111"/>
                  </a:cxn>
                  <a:cxn ang="0">
                    <a:pos x="10" y="138"/>
                  </a:cxn>
                  <a:cxn ang="0">
                    <a:pos x="10" y="143"/>
                  </a:cxn>
                  <a:cxn ang="0">
                    <a:pos x="13" y="137"/>
                  </a:cxn>
                  <a:cxn ang="0">
                    <a:pos x="8" y="138"/>
                  </a:cxn>
                  <a:cxn ang="0">
                    <a:pos x="7" y="138"/>
                  </a:cxn>
                  <a:cxn ang="0">
                    <a:pos x="7" y="140"/>
                  </a:cxn>
                  <a:cxn ang="0">
                    <a:pos x="5" y="142"/>
                  </a:cxn>
                  <a:cxn ang="0">
                    <a:pos x="5" y="148"/>
                  </a:cxn>
                  <a:cxn ang="0">
                    <a:pos x="7" y="150"/>
                  </a:cxn>
                  <a:cxn ang="0">
                    <a:pos x="8" y="150"/>
                  </a:cxn>
                  <a:cxn ang="0">
                    <a:pos x="10" y="151"/>
                  </a:cxn>
                  <a:cxn ang="0">
                    <a:pos x="12" y="151"/>
                  </a:cxn>
                  <a:cxn ang="0">
                    <a:pos x="13" y="150"/>
                  </a:cxn>
                  <a:cxn ang="0">
                    <a:pos x="18" y="148"/>
                  </a:cxn>
                  <a:cxn ang="0">
                    <a:pos x="20" y="148"/>
                  </a:cxn>
                  <a:cxn ang="0">
                    <a:pos x="20" y="147"/>
                  </a:cxn>
                  <a:cxn ang="0">
                    <a:pos x="22" y="147"/>
                  </a:cxn>
                  <a:cxn ang="0">
                    <a:pos x="22" y="145"/>
                  </a:cxn>
                  <a:cxn ang="0">
                    <a:pos x="23" y="143"/>
                  </a:cxn>
                  <a:cxn ang="0">
                    <a:pos x="23" y="137"/>
                  </a:cxn>
                  <a:cxn ang="0">
                    <a:pos x="18" y="109"/>
                  </a:cxn>
                  <a:cxn ang="0">
                    <a:pos x="15" y="83"/>
                  </a:cxn>
                  <a:cxn ang="0">
                    <a:pos x="13" y="54"/>
                  </a:cxn>
                  <a:cxn ang="0">
                    <a:pos x="13" y="55"/>
                  </a:cxn>
                  <a:cxn ang="0">
                    <a:pos x="13" y="6"/>
                  </a:cxn>
                </a:cxnLst>
                <a:rect l="0" t="0" r="r" b="b"/>
                <a:pathLst>
                  <a:path w="23" h="151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55"/>
                    </a:lnTo>
                    <a:lnTo>
                      <a:pt x="2" y="85"/>
                    </a:lnTo>
                    <a:lnTo>
                      <a:pt x="5" y="111"/>
                    </a:lnTo>
                    <a:lnTo>
                      <a:pt x="10" y="138"/>
                    </a:lnTo>
                    <a:lnTo>
                      <a:pt x="10" y="143"/>
                    </a:lnTo>
                    <a:lnTo>
                      <a:pt x="13" y="137"/>
                    </a:lnTo>
                    <a:lnTo>
                      <a:pt x="8" y="138"/>
                    </a:lnTo>
                    <a:lnTo>
                      <a:pt x="7" y="138"/>
                    </a:lnTo>
                    <a:lnTo>
                      <a:pt x="7" y="140"/>
                    </a:lnTo>
                    <a:lnTo>
                      <a:pt x="5" y="142"/>
                    </a:lnTo>
                    <a:lnTo>
                      <a:pt x="5" y="148"/>
                    </a:lnTo>
                    <a:lnTo>
                      <a:pt x="7" y="150"/>
                    </a:lnTo>
                    <a:lnTo>
                      <a:pt x="8" y="150"/>
                    </a:lnTo>
                    <a:lnTo>
                      <a:pt x="10" y="151"/>
                    </a:lnTo>
                    <a:lnTo>
                      <a:pt x="12" y="151"/>
                    </a:lnTo>
                    <a:lnTo>
                      <a:pt x="13" y="150"/>
                    </a:lnTo>
                    <a:lnTo>
                      <a:pt x="18" y="148"/>
                    </a:lnTo>
                    <a:lnTo>
                      <a:pt x="20" y="148"/>
                    </a:lnTo>
                    <a:lnTo>
                      <a:pt x="20" y="147"/>
                    </a:lnTo>
                    <a:lnTo>
                      <a:pt x="22" y="147"/>
                    </a:lnTo>
                    <a:lnTo>
                      <a:pt x="22" y="145"/>
                    </a:lnTo>
                    <a:lnTo>
                      <a:pt x="23" y="143"/>
                    </a:lnTo>
                    <a:lnTo>
                      <a:pt x="23" y="137"/>
                    </a:lnTo>
                    <a:lnTo>
                      <a:pt x="18" y="109"/>
                    </a:lnTo>
                    <a:lnTo>
                      <a:pt x="15" y="83"/>
                    </a:lnTo>
                    <a:lnTo>
                      <a:pt x="13" y="54"/>
                    </a:lnTo>
                    <a:lnTo>
                      <a:pt x="13" y="5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7" name="Freeform 83">
                <a:extLst>
                  <a:ext uri="{FF2B5EF4-FFF2-40B4-BE49-F238E27FC236}">
                    <a16:creationId xmlns:a16="http://schemas.microsoft.com/office/drawing/2014/main" id="{367D6D8C-B49A-4A5D-8837-C0DFD925563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90" y="1136"/>
                <a:ext cx="32" cy="201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1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1" y="70"/>
                  </a:cxn>
                  <a:cxn ang="0">
                    <a:pos x="5" y="101"/>
                  </a:cxn>
                  <a:cxn ang="0">
                    <a:pos x="8" y="134"/>
                  </a:cxn>
                  <a:cxn ang="0">
                    <a:pos x="11" y="152"/>
                  </a:cxn>
                  <a:cxn ang="0">
                    <a:pos x="11" y="153"/>
                  </a:cxn>
                  <a:cxn ang="0">
                    <a:pos x="13" y="160"/>
                  </a:cxn>
                  <a:cxn ang="0">
                    <a:pos x="13" y="162"/>
                  </a:cxn>
                  <a:cxn ang="0">
                    <a:pos x="15" y="162"/>
                  </a:cxn>
                  <a:cxn ang="0">
                    <a:pos x="16" y="163"/>
                  </a:cxn>
                  <a:cxn ang="0">
                    <a:pos x="18" y="163"/>
                  </a:cxn>
                  <a:cxn ang="0">
                    <a:pos x="20" y="165"/>
                  </a:cxn>
                  <a:cxn ang="0">
                    <a:pos x="21" y="165"/>
                  </a:cxn>
                  <a:cxn ang="0">
                    <a:pos x="25" y="162"/>
                  </a:cxn>
                  <a:cxn ang="0">
                    <a:pos x="25" y="160"/>
                  </a:cxn>
                  <a:cxn ang="0">
                    <a:pos x="26" y="158"/>
                  </a:cxn>
                  <a:cxn ang="0">
                    <a:pos x="26" y="157"/>
                  </a:cxn>
                  <a:cxn ang="0">
                    <a:pos x="25" y="150"/>
                  </a:cxn>
                  <a:cxn ang="0">
                    <a:pos x="21" y="132"/>
                  </a:cxn>
                  <a:cxn ang="0">
                    <a:pos x="18" y="100"/>
                  </a:cxn>
                  <a:cxn ang="0">
                    <a:pos x="15" y="69"/>
                  </a:cxn>
                  <a:cxn ang="0">
                    <a:pos x="15" y="70"/>
                  </a:cxn>
                  <a:cxn ang="0">
                    <a:pos x="13" y="7"/>
                  </a:cxn>
                </a:cxnLst>
                <a:rect l="0" t="0" r="r" b="b"/>
                <a:pathLst>
                  <a:path w="26" h="165">
                    <a:moveTo>
                      <a:pt x="13" y="7"/>
                    </a:moveTo>
                    <a:lnTo>
                      <a:pt x="11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1" y="70"/>
                    </a:lnTo>
                    <a:lnTo>
                      <a:pt x="5" y="101"/>
                    </a:lnTo>
                    <a:lnTo>
                      <a:pt x="8" y="134"/>
                    </a:lnTo>
                    <a:lnTo>
                      <a:pt x="11" y="152"/>
                    </a:lnTo>
                    <a:lnTo>
                      <a:pt x="11" y="153"/>
                    </a:lnTo>
                    <a:lnTo>
                      <a:pt x="13" y="160"/>
                    </a:lnTo>
                    <a:lnTo>
                      <a:pt x="13" y="162"/>
                    </a:lnTo>
                    <a:lnTo>
                      <a:pt x="15" y="162"/>
                    </a:lnTo>
                    <a:lnTo>
                      <a:pt x="16" y="163"/>
                    </a:lnTo>
                    <a:lnTo>
                      <a:pt x="18" y="163"/>
                    </a:lnTo>
                    <a:lnTo>
                      <a:pt x="20" y="165"/>
                    </a:lnTo>
                    <a:lnTo>
                      <a:pt x="21" y="165"/>
                    </a:lnTo>
                    <a:lnTo>
                      <a:pt x="25" y="162"/>
                    </a:lnTo>
                    <a:lnTo>
                      <a:pt x="25" y="160"/>
                    </a:lnTo>
                    <a:lnTo>
                      <a:pt x="26" y="158"/>
                    </a:lnTo>
                    <a:lnTo>
                      <a:pt x="26" y="157"/>
                    </a:lnTo>
                    <a:lnTo>
                      <a:pt x="25" y="150"/>
                    </a:lnTo>
                    <a:lnTo>
                      <a:pt x="21" y="132"/>
                    </a:lnTo>
                    <a:lnTo>
                      <a:pt x="18" y="100"/>
                    </a:lnTo>
                    <a:lnTo>
                      <a:pt x="15" y="69"/>
                    </a:lnTo>
                    <a:lnTo>
                      <a:pt x="15" y="70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8" name="Freeform 84">
                <a:extLst>
                  <a:ext uri="{FF2B5EF4-FFF2-40B4-BE49-F238E27FC236}">
                    <a16:creationId xmlns:a16="http://schemas.microsoft.com/office/drawing/2014/main" id="{E63A5B7D-E22A-4693-8E27-B0972DE7906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89" y="1133"/>
                <a:ext cx="36" cy="195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4" y="67"/>
                  </a:cxn>
                  <a:cxn ang="0">
                    <a:pos x="5" y="93"/>
                  </a:cxn>
                  <a:cxn ang="0">
                    <a:pos x="10" y="126"/>
                  </a:cxn>
                  <a:cxn ang="0">
                    <a:pos x="10" y="128"/>
                  </a:cxn>
                  <a:cxn ang="0">
                    <a:pos x="17" y="155"/>
                  </a:cxn>
                  <a:cxn ang="0">
                    <a:pos x="17" y="157"/>
                  </a:cxn>
                  <a:cxn ang="0">
                    <a:pos x="18" y="157"/>
                  </a:cxn>
                  <a:cxn ang="0">
                    <a:pos x="22" y="160"/>
                  </a:cxn>
                  <a:cxn ang="0">
                    <a:pos x="25" y="160"/>
                  </a:cxn>
                  <a:cxn ang="0">
                    <a:pos x="28" y="157"/>
                  </a:cxn>
                  <a:cxn ang="0">
                    <a:pos x="28" y="155"/>
                  </a:cxn>
                  <a:cxn ang="0">
                    <a:pos x="30" y="154"/>
                  </a:cxn>
                  <a:cxn ang="0">
                    <a:pos x="30" y="152"/>
                  </a:cxn>
                  <a:cxn ang="0">
                    <a:pos x="23" y="124"/>
                  </a:cxn>
                  <a:cxn ang="0">
                    <a:pos x="18" y="92"/>
                  </a:cxn>
                  <a:cxn ang="0">
                    <a:pos x="17" y="66"/>
                  </a:cxn>
                  <a:cxn ang="0">
                    <a:pos x="13" y="5"/>
                  </a:cxn>
                </a:cxnLst>
                <a:rect l="0" t="0" r="r" b="b"/>
                <a:pathLst>
                  <a:path w="30" h="160">
                    <a:moveTo>
                      <a:pt x="13" y="5"/>
                    </a:move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67"/>
                    </a:lnTo>
                    <a:lnTo>
                      <a:pt x="5" y="93"/>
                    </a:lnTo>
                    <a:lnTo>
                      <a:pt x="10" y="126"/>
                    </a:lnTo>
                    <a:lnTo>
                      <a:pt x="10" y="128"/>
                    </a:lnTo>
                    <a:lnTo>
                      <a:pt x="17" y="155"/>
                    </a:lnTo>
                    <a:lnTo>
                      <a:pt x="17" y="157"/>
                    </a:lnTo>
                    <a:lnTo>
                      <a:pt x="18" y="157"/>
                    </a:lnTo>
                    <a:lnTo>
                      <a:pt x="22" y="160"/>
                    </a:lnTo>
                    <a:lnTo>
                      <a:pt x="25" y="160"/>
                    </a:lnTo>
                    <a:lnTo>
                      <a:pt x="28" y="157"/>
                    </a:lnTo>
                    <a:lnTo>
                      <a:pt x="28" y="155"/>
                    </a:lnTo>
                    <a:lnTo>
                      <a:pt x="30" y="154"/>
                    </a:lnTo>
                    <a:lnTo>
                      <a:pt x="30" y="152"/>
                    </a:lnTo>
                    <a:lnTo>
                      <a:pt x="23" y="124"/>
                    </a:lnTo>
                    <a:lnTo>
                      <a:pt x="18" y="92"/>
                    </a:lnTo>
                    <a:lnTo>
                      <a:pt x="17" y="66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" name="Freeform 85">
                <a:extLst>
                  <a:ext uri="{FF2B5EF4-FFF2-40B4-BE49-F238E27FC236}">
                    <a16:creationId xmlns:a16="http://schemas.microsoft.com/office/drawing/2014/main" id="{57F2C689-82A2-4418-83AF-2E33B517184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778" y="1136"/>
                <a:ext cx="46" cy="179"/>
              </a:xfrm>
              <a:custGeom>
                <a:avLst/>
                <a:gdLst/>
                <a:ahLst/>
                <a:cxnLst>
                  <a:cxn ang="0">
                    <a:pos x="13" y="5"/>
                  </a:cxn>
                  <a:cxn ang="0">
                    <a:pos x="12" y="3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3" y="41"/>
                  </a:cxn>
                  <a:cxn ang="0">
                    <a:pos x="5" y="77"/>
                  </a:cxn>
                  <a:cxn ang="0">
                    <a:pos x="8" y="101"/>
                  </a:cxn>
                  <a:cxn ang="0">
                    <a:pos x="8" y="103"/>
                  </a:cxn>
                  <a:cxn ang="0">
                    <a:pos x="13" y="121"/>
                  </a:cxn>
                  <a:cxn ang="0">
                    <a:pos x="18" y="132"/>
                  </a:cxn>
                  <a:cxn ang="0">
                    <a:pos x="18" y="134"/>
                  </a:cxn>
                  <a:cxn ang="0">
                    <a:pos x="25" y="144"/>
                  </a:cxn>
                  <a:cxn ang="0">
                    <a:pos x="26" y="145"/>
                  </a:cxn>
                  <a:cxn ang="0">
                    <a:pos x="28" y="145"/>
                  </a:cxn>
                  <a:cxn ang="0">
                    <a:pos x="30" y="147"/>
                  </a:cxn>
                  <a:cxn ang="0">
                    <a:pos x="31" y="147"/>
                  </a:cxn>
                  <a:cxn ang="0">
                    <a:pos x="33" y="145"/>
                  </a:cxn>
                  <a:cxn ang="0">
                    <a:pos x="35" y="145"/>
                  </a:cxn>
                  <a:cxn ang="0">
                    <a:pos x="36" y="144"/>
                  </a:cxn>
                  <a:cxn ang="0">
                    <a:pos x="36" y="142"/>
                  </a:cxn>
                  <a:cxn ang="0">
                    <a:pos x="38" y="140"/>
                  </a:cxn>
                  <a:cxn ang="0">
                    <a:pos x="38" y="139"/>
                  </a:cxn>
                  <a:cxn ang="0">
                    <a:pos x="36" y="137"/>
                  </a:cxn>
                  <a:cxn ang="0">
                    <a:pos x="36" y="136"/>
                  </a:cxn>
                  <a:cxn ang="0">
                    <a:pos x="30" y="126"/>
                  </a:cxn>
                  <a:cxn ang="0">
                    <a:pos x="30" y="127"/>
                  </a:cxn>
                  <a:cxn ang="0">
                    <a:pos x="25" y="116"/>
                  </a:cxn>
                  <a:cxn ang="0">
                    <a:pos x="25" y="118"/>
                  </a:cxn>
                  <a:cxn ang="0">
                    <a:pos x="20" y="100"/>
                  </a:cxn>
                  <a:cxn ang="0">
                    <a:pos x="21" y="100"/>
                  </a:cxn>
                  <a:cxn ang="0">
                    <a:pos x="18" y="75"/>
                  </a:cxn>
                  <a:cxn ang="0">
                    <a:pos x="16" y="39"/>
                  </a:cxn>
                  <a:cxn ang="0">
                    <a:pos x="13" y="5"/>
                  </a:cxn>
                </a:cxnLst>
                <a:rect l="0" t="0" r="r" b="b"/>
                <a:pathLst>
                  <a:path w="38" h="147">
                    <a:moveTo>
                      <a:pt x="13" y="5"/>
                    </a:move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3" y="41"/>
                    </a:lnTo>
                    <a:lnTo>
                      <a:pt x="5" y="77"/>
                    </a:lnTo>
                    <a:lnTo>
                      <a:pt x="8" y="101"/>
                    </a:lnTo>
                    <a:lnTo>
                      <a:pt x="8" y="103"/>
                    </a:lnTo>
                    <a:lnTo>
                      <a:pt x="13" y="121"/>
                    </a:lnTo>
                    <a:lnTo>
                      <a:pt x="18" y="132"/>
                    </a:lnTo>
                    <a:lnTo>
                      <a:pt x="18" y="134"/>
                    </a:lnTo>
                    <a:lnTo>
                      <a:pt x="25" y="144"/>
                    </a:lnTo>
                    <a:lnTo>
                      <a:pt x="26" y="145"/>
                    </a:lnTo>
                    <a:lnTo>
                      <a:pt x="28" y="145"/>
                    </a:lnTo>
                    <a:lnTo>
                      <a:pt x="30" y="147"/>
                    </a:lnTo>
                    <a:lnTo>
                      <a:pt x="31" y="147"/>
                    </a:lnTo>
                    <a:lnTo>
                      <a:pt x="33" y="145"/>
                    </a:lnTo>
                    <a:lnTo>
                      <a:pt x="35" y="145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38" y="140"/>
                    </a:lnTo>
                    <a:lnTo>
                      <a:pt x="38" y="139"/>
                    </a:lnTo>
                    <a:lnTo>
                      <a:pt x="36" y="137"/>
                    </a:lnTo>
                    <a:lnTo>
                      <a:pt x="36" y="136"/>
                    </a:lnTo>
                    <a:lnTo>
                      <a:pt x="30" y="126"/>
                    </a:lnTo>
                    <a:lnTo>
                      <a:pt x="30" y="127"/>
                    </a:lnTo>
                    <a:lnTo>
                      <a:pt x="25" y="116"/>
                    </a:lnTo>
                    <a:lnTo>
                      <a:pt x="25" y="118"/>
                    </a:lnTo>
                    <a:lnTo>
                      <a:pt x="20" y="100"/>
                    </a:lnTo>
                    <a:lnTo>
                      <a:pt x="21" y="100"/>
                    </a:lnTo>
                    <a:lnTo>
                      <a:pt x="18" y="75"/>
                    </a:lnTo>
                    <a:lnTo>
                      <a:pt x="16" y="39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Freeform 86">
                <a:extLst>
                  <a:ext uri="{FF2B5EF4-FFF2-40B4-BE49-F238E27FC236}">
                    <a16:creationId xmlns:a16="http://schemas.microsoft.com/office/drawing/2014/main" id="{AE680F4C-2667-4C2D-9028-1F588365376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9" y="1478"/>
                <a:ext cx="23" cy="26"/>
              </a:xfrm>
              <a:custGeom>
                <a:avLst/>
                <a:gdLst/>
                <a:ahLst/>
                <a:cxnLst>
                  <a:cxn ang="0">
                    <a:pos x="12" y="3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7" y="19"/>
                  </a:cxn>
                  <a:cxn ang="0">
                    <a:pos x="9" y="19"/>
                  </a:cxn>
                  <a:cxn ang="0">
                    <a:pos x="10" y="21"/>
                  </a:cxn>
                  <a:cxn ang="0">
                    <a:pos x="12" y="21"/>
                  </a:cxn>
                  <a:cxn ang="0">
                    <a:pos x="14" y="19"/>
                  </a:cxn>
                  <a:cxn ang="0">
                    <a:pos x="15" y="19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7" y="13"/>
                  </a:cxn>
                  <a:cxn ang="0">
                    <a:pos x="17" y="11"/>
                  </a:cxn>
                  <a:cxn ang="0">
                    <a:pos x="12" y="3"/>
                  </a:cxn>
                </a:cxnLst>
                <a:rect l="0" t="0" r="r" b="b"/>
                <a:pathLst>
                  <a:path w="19" h="21">
                    <a:moveTo>
                      <a:pt x="12" y="3"/>
                    </a:moveTo>
                    <a:lnTo>
                      <a:pt x="10" y="1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5" y="17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0" y="21"/>
                    </a:lnTo>
                    <a:lnTo>
                      <a:pt x="12" y="21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Freeform 87">
                <a:extLst>
                  <a:ext uri="{FF2B5EF4-FFF2-40B4-BE49-F238E27FC236}">
                    <a16:creationId xmlns:a16="http://schemas.microsoft.com/office/drawing/2014/main" id="{BA0C210E-7599-4B8C-82FC-798B4DED66B1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1" y="1373"/>
                <a:ext cx="623" cy="316"/>
              </a:xfrm>
              <a:custGeom>
                <a:avLst/>
                <a:gdLst/>
                <a:ahLst/>
                <a:cxnLst>
                  <a:cxn ang="0">
                    <a:pos x="507" y="259"/>
                  </a:cxn>
                  <a:cxn ang="0">
                    <a:pos x="510" y="257"/>
                  </a:cxn>
                  <a:cxn ang="0">
                    <a:pos x="512" y="254"/>
                  </a:cxn>
                  <a:cxn ang="0">
                    <a:pos x="513" y="251"/>
                  </a:cxn>
                  <a:cxn ang="0">
                    <a:pos x="512" y="248"/>
                  </a:cxn>
                  <a:cxn ang="0">
                    <a:pos x="508" y="246"/>
                  </a:cxn>
                  <a:cxn ang="0">
                    <a:pos x="477" y="240"/>
                  </a:cxn>
                  <a:cxn ang="0">
                    <a:pos x="347" y="228"/>
                  </a:cxn>
                  <a:cxn ang="0">
                    <a:pos x="221" y="227"/>
                  </a:cxn>
                  <a:cxn ang="0">
                    <a:pos x="151" y="215"/>
                  </a:cxn>
                  <a:cxn ang="0">
                    <a:pos x="135" y="210"/>
                  </a:cxn>
                  <a:cxn ang="0">
                    <a:pos x="103" y="196"/>
                  </a:cxn>
                  <a:cxn ang="0">
                    <a:pos x="78" y="182"/>
                  </a:cxn>
                  <a:cxn ang="0">
                    <a:pos x="68" y="173"/>
                  </a:cxn>
                  <a:cxn ang="0">
                    <a:pos x="47" y="132"/>
                  </a:cxn>
                  <a:cxn ang="0">
                    <a:pos x="33" y="103"/>
                  </a:cxn>
                  <a:cxn ang="0">
                    <a:pos x="25" y="68"/>
                  </a:cxn>
                  <a:cxn ang="0">
                    <a:pos x="15" y="13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2" y="16"/>
                  </a:cxn>
                  <a:cxn ang="0">
                    <a:pos x="7" y="34"/>
                  </a:cxn>
                  <a:cxn ang="0">
                    <a:pos x="12" y="72"/>
                  </a:cxn>
                  <a:cxn ang="0">
                    <a:pos x="35" y="137"/>
                  </a:cxn>
                  <a:cxn ang="0">
                    <a:pos x="57" y="178"/>
                  </a:cxn>
                  <a:cxn ang="0">
                    <a:pos x="58" y="179"/>
                  </a:cxn>
                  <a:cxn ang="0">
                    <a:pos x="96" y="207"/>
                  </a:cxn>
                  <a:cxn ang="0">
                    <a:pos x="131" y="222"/>
                  </a:cxn>
                  <a:cxn ang="0">
                    <a:pos x="150" y="228"/>
                  </a:cxn>
                  <a:cxn ang="0">
                    <a:pos x="219" y="240"/>
                  </a:cxn>
                  <a:cxn ang="0">
                    <a:pos x="347" y="241"/>
                  </a:cxn>
                  <a:cxn ang="0">
                    <a:pos x="415" y="248"/>
                  </a:cxn>
                  <a:cxn ang="0">
                    <a:pos x="505" y="259"/>
                  </a:cxn>
                </a:cxnLst>
                <a:rect l="0" t="0" r="r" b="b"/>
                <a:pathLst>
                  <a:path w="513" h="259">
                    <a:moveTo>
                      <a:pt x="505" y="259"/>
                    </a:moveTo>
                    <a:lnTo>
                      <a:pt x="507" y="259"/>
                    </a:lnTo>
                    <a:lnTo>
                      <a:pt x="508" y="257"/>
                    </a:lnTo>
                    <a:lnTo>
                      <a:pt x="510" y="257"/>
                    </a:lnTo>
                    <a:lnTo>
                      <a:pt x="512" y="256"/>
                    </a:lnTo>
                    <a:lnTo>
                      <a:pt x="512" y="254"/>
                    </a:lnTo>
                    <a:lnTo>
                      <a:pt x="513" y="253"/>
                    </a:lnTo>
                    <a:lnTo>
                      <a:pt x="513" y="251"/>
                    </a:lnTo>
                    <a:lnTo>
                      <a:pt x="512" y="249"/>
                    </a:lnTo>
                    <a:lnTo>
                      <a:pt x="512" y="248"/>
                    </a:lnTo>
                    <a:lnTo>
                      <a:pt x="510" y="248"/>
                    </a:lnTo>
                    <a:lnTo>
                      <a:pt x="508" y="246"/>
                    </a:lnTo>
                    <a:lnTo>
                      <a:pt x="507" y="246"/>
                    </a:lnTo>
                    <a:lnTo>
                      <a:pt x="477" y="240"/>
                    </a:lnTo>
                    <a:lnTo>
                      <a:pt x="417" y="235"/>
                    </a:lnTo>
                    <a:lnTo>
                      <a:pt x="347" y="228"/>
                    </a:lnTo>
                    <a:lnTo>
                      <a:pt x="279" y="227"/>
                    </a:lnTo>
                    <a:lnTo>
                      <a:pt x="221" y="227"/>
                    </a:lnTo>
                    <a:lnTo>
                      <a:pt x="181" y="222"/>
                    </a:lnTo>
                    <a:lnTo>
                      <a:pt x="151" y="215"/>
                    </a:lnTo>
                    <a:lnTo>
                      <a:pt x="153" y="215"/>
                    </a:lnTo>
                    <a:lnTo>
                      <a:pt x="135" y="210"/>
                    </a:lnTo>
                    <a:lnTo>
                      <a:pt x="101" y="196"/>
                    </a:lnTo>
                    <a:lnTo>
                      <a:pt x="103" y="196"/>
                    </a:lnTo>
                    <a:lnTo>
                      <a:pt x="78" y="181"/>
                    </a:lnTo>
                    <a:lnTo>
                      <a:pt x="78" y="182"/>
                    </a:lnTo>
                    <a:lnTo>
                      <a:pt x="67" y="171"/>
                    </a:lnTo>
                    <a:lnTo>
                      <a:pt x="68" y="173"/>
                    </a:lnTo>
                    <a:lnTo>
                      <a:pt x="63" y="163"/>
                    </a:lnTo>
                    <a:lnTo>
                      <a:pt x="47" y="132"/>
                    </a:lnTo>
                    <a:lnTo>
                      <a:pt x="33" y="101"/>
                    </a:lnTo>
                    <a:lnTo>
                      <a:pt x="33" y="103"/>
                    </a:lnTo>
                    <a:lnTo>
                      <a:pt x="23" y="68"/>
                    </a:lnTo>
                    <a:lnTo>
                      <a:pt x="25" y="68"/>
                    </a:lnTo>
                    <a:lnTo>
                      <a:pt x="20" y="32"/>
                    </a:lnTo>
                    <a:lnTo>
                      <a:pt x="15" y="13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7" y="36"/>
                    </a:lnTo>
                    <a:lnTo>
                      <a:pt x="7" y="34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22" y="106"/>
                    </a:lnTo>
                    <a:lnTo>
                      <a:pt x="35" y="137"/>
                    </a:lnTo>
                    <a:lnTo>
                      <a:pt x="52" y="168"/>
                    </a:lnTo>
                    <a:lnTo>
                      <a:pt x="57" y="178"/>
                    </a:lnTo>
                    <a:lnTo>
                      <a:pt x="57" y="179"/>
                    </a:lnTo>
                    <a:lnTo>
                      <a:pt x="58" y="179"/>
                    </a:lnTo>
                    <a:lnTo>
                      <a:pt x="72" y="192"/>
                    </a:lnTo>
                    <a:lnTo>
                      <a:pt x="96" y="207"/>
                    </a:lnTo>
                    <a:lnTo>
                      <a:pt x="130" y="222"/>
                    </a:lnTo>
                    <a:lnTo>
                      <a:pt x="131" y="222"/>
                    </a:lnTo>
                    <a:lnTo>
                      <a:pt x="150" y="227"/>
                    </a:lnTo>
                    <a:lnTo>
                      <a:pt x="150" y="228"/>
                    </a:lnTo>
                    <a:lnTo>
                      <a:pt x="179" y="235"/>
                    </a:lnTo>
                    <a:lnTo>
                      <a:pt x="219" y="240"/>
                    </a:lnTo>
                    <a:lnTo>
                      <a:pt x="279" y="240"/>
                    </a:lnTo>
                    <a:lnTo>
                      <a:pt x="347" y="241"/>
                    </a:lnTo>
                    <a:lnTo>
                      <a:pt x="346" y="241"/>
                    </a:lnTo>
                    <a:lnTo>
                      <a:pt x="415" y="248"/>
                    </a:lnTo>
                    <a:lnTo>
                      <a:pt x="475" y="253"/>
                    </a:lnTo>
                    <a:lnTo>
                      <a:pt x="505" y="25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Freeform 88">
                <a:extLst>
                  <a:ext uri="{FF2B5EF4-FFF2-40B4-BE49-F238E27FC236}">
                    <a16:creationId xmlns:a16="http://schemas.microsoft.com/office/drawing/2014/main" id="{D98EA560-971A-453F-8B1C-C678FE4DF7B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166" y="1532"/>
                <a:ext cx="730" cy="214"/>
              </a:xfrm>
              <a:custGeom>
                <a:avLst/>
                <a:gdLst/>
                <a:ahLst/>
                <a:cxnLst>
                  <a:cxn ang="0">
                    <a:pos x="594" y="175"/>
                  </a:cxn>
                  <a:cxn ang="0">
                    <a:pos x="596" y="173"/>
                  </a:cxn>
                  <a:cxn ang="0">
                    <a:pos x="598" y="173"/>
                  </a:cxn>
                  <a:cxn ang="0">
                    <a:pos x="598" y="172"/>
                  </a:cxn>
                  <a:cxn ang="0">
                    <a:pos x="599" y="172"/>
                  </a:cxn>
                  <a:cxn ang="0">
                    <a:pos x="599" y="170"/>
                  </a:cxn>
                  <a:cxn ang="0">
                    <a:pos x="601" y="168"/>
                  </a:cxn>
                  <a:cxn ang="0">
                    <a:pos x="599" y="167"/>
                  </a:cxn>
                  <a:cxn ang="0">
                    <a:pos x="599" y="165"/>
                  </a:cxn>
                  <a:cxn ang="0">
                    <a:pos x="598" y="163"/>
                  </a:cxn>
                  <a:cxn ang="0">
                    <a:pos x="598" y="162"/>
                  </a:cxn>
                  <a:cxn ang="0">
                    <a:pos x="433" y="162"/>
                  </a:cxn>
                  <a:cxn ang="0">
                    <a:pos x="380" y="159"/>
                  </a:cxn>
                  <a:cxn ang="0">
                    <a:pos x="314" y="155"/>
                  </a:cxn>
                  <a:cxn ang="0">
                    <a:pos x="231" y="149"/>
                  </a:cxn>
                  <a:cxn ang="0">
                    <a:pos x="181" y="144"/>
                  </a:cxn>
                  <a:cxn ang="0">
                    <a:pos x="128" y="136"/>
                  </a:cxn>
                  <a:cxn ang="0">
                    <a:pos x="111" y="132"/>
                  </a:cxn>
                  <a:cxn ang="0">
                    <a:pos x="115" y="132"/>
                  </a:cxn>
                  <a:cxn ang="0">
                    <a:pos x="83" y="114"/>
                  </a:cxn>
                  <a:cxn ang="0">
                    <a:pos x="60" y="98"/>
                  </a:cxn>
                  <a:cxn ang="0">
                    <a:pos x="61" y="100"/>
                  </a:cxn>
                  <a:cxn ang="0">
                    <a:pos x="43" y="80"/>
                  </a:cxn>
                  <a:cxn ang="0">
                    <a:pos x="28" y="59"/>
                  </a:cxn>
                  <a:cxn ang="0">
                    <a:pos x="28" y="61"/>
                  </a:cxn>
                  <a:cxn ang="0">
                    <a:pos x="17" y="26"/>
                  </a:cxn>
                  <a:cxn ang="0">
                    <a:pos x="18" y="28"/>
                  </a:cxn>
                  <a:cxn ang="0">
                    <a:pos x="13" y="5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7"/>
                  </a:cxn>
                  <a:cxn ang="0">
                    <a:pos x="5" y="30"/>
                  </a:cxn>
                  <a:cxn ang="0">
                    <a:pos x="5" y="31"/>
                  </a:cxn>
                  <a:cxn ang="0">
                    <a:pos x="17" y="66"/>
                  </a:cxn>
                  <a:cxn ang="0">
                    <a:pos x="17" y="67"/>
                  </a:cxn>
                  <a:cxn ang="0">
                    <a:pos x="32" y="88"/>
                  </a:cxn>
                  <a:cxn ang="0">
                    <a:pos x="33" y="88"/>
                  </a:cxn>
                  <a:cxn ang="0">
                    <a:pos x="51" y="108"/>
                  </a:cxn>
                  <a:cxn ang="0">
                    <a:pos x="51" y="110"/>
                  </a:cxn>
                  <a:cxn ang="0">
                    <a:pos x="75" y="126"/>
                  </a:cxn>
                  <a:cxn ang="0">
                    <a:pos x="76" y="126"/>
                  </a:cxn>
                  <a:cxn ang="0">
                    <a:pos x="108" y="144"/>
                  </a:cxn>
                  <a:cxn ang="0">
                    <a:pos x="110" y="145"/>
                  </a:cxn>
                  <a:cxn ang="0">
                    <a:pos x="126" y="149"/>
                  </a:cxn>
                  <a:cxn ang="0">
                    <a:pos x="179" y="157"/>
                  </a:cxn>
                  <a:cxn ang="0">
                    <a:pos x="229" y="162"/>
                  </a:cxn>
                  <a:cxn ang="0">
                    <a:pos x="312" y="168"/>
                  </a:cxn>
                  <a:cxn ang="0">
                    <a:pos x="379" y="172"/>
                  </a:cxn>
                  <a:cxn ang="0">
                    <a:pos x="432" y="175"/>
                  </a:cxn>
                  <a:cxn ang="0">
                    <a:pos x="433" y="175"/>
                  </a:cxn>
                  <a:cxn ang="0">
                    <a:pos x="594" y="175"/>
                  </a:cxn>
                </a:cxnLst>
                <a:rect l="0" t="0" r="r" b="b"/>
                <a:pathLst>
                  <a:path w="601" h="175">
                    <a:moveTo>
                      <a:pt x="594" y="175"/>
                    </a:moveTo>
                    <a:lnTo>
                      <a:pt x="596" y="173"/>
                    </a:lnTo>
                    <a:lnTo>
                      <a:pt x="598" y="173"/>
                    </a:lnTo>
                    <a:lnTo>
                      <a:pt x="598" y="172"/>
                    </a:lnTo>
                    <a:lnTo>
                      <a:pt x="599" y="172"/>
                    </a:lnTo>
                    <a:lnTo>
                      <a:pt x="599" y="170"/>
                    </a:lnTo>
                    <a:lnTo>
                      <a:pt x="601" y="168"/>
                    </a:lnTo>
                    <a:lnTo>
                      <a:pt x="599" y="167"/>
                    </a:lnTo>
                    <a:lnTo>
                      <a:pt x="599" y="165"/>
                    </a:lnTo>
                    <a:lnTo>
                      <a:pt x="598" y="163"/>
                    </a:lnTo>
                    <a:lnTo>
                      <a:pt x="598" y="162"/>
                    </a:lnTo>
                    <a:lnTo>
                      <a:pt x="433" y="162"/>
                    </a:lnTo>
                    <a:lnTo>
                      <a:pt x="380" y="159"/>
                    </a:lnTo>
                    <a:lnTo>
                      <a:pt x="314" y="155"/>
                    </a:lnTo>
                    <a:lnTo>
                      <a:pt x="231" y="149"/>
                    </a:lnTo>
                    <a:lnTo>
                      <a:pt x="181" y="144"/>
                    </a:lnTo>
                    <a:lnTo>
                      <a:pt x="128" y="136"/>
                    </a:lnTo>
                    <a:lnTo>
                      <a:pt x="111" y="132"/>
                    </a:lnTo>
                    <a:lnTo>
                      <a:pt x="115" y="132"/>
                    </a:lnTo>
                    <a:lnTo>
                      <a:pt x="83" y="114"/>
                    </a:lnTo>
                    <a:lnTo>
                      <a:pt x="60" y="98"/>
                    </a:lnTo>
                    <a:lnTo>
                      <a:pt x="61" y="100"/>
                    </a:lnTo>
                    <a:lnTo>
                      <a:pt x="43" y="80"/>
                    </a:lnTo>
                    <a:lnTo>
                      <a:pt x="28" y="59"/>
                    </a:lnTo>
                    <a:lnTo>
                      <a:pt x="28" y="61"/>
                    </a:lnTo>
                    <a:lnTo>
                      <a:pt x="17" y="26"/>
                    </a:lnTo>
                    <a:lnTo>
                      <a:pt x="18" y="28"/>
                    </a:lnTo>
                    <a:lnTo>
                      <a:pt x="13" y="5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5" y="30"/>
                    </a:lnTo>
                    <a:lnTo>
                      <a:pt x="5" y="31"/>
                    </a:lnTo>
                    <a:lnTo>
                      <a:pt x="17" y="66"/>
                    </a:lnTo>
                    <a:lnTo>
                      <a:pt x="17" y="67"/>
                    </a:lnTo>
                    <a:lnTo>
                      <a:pt x="32" y="88"/>
                    </a:lnTo>
                    <a:lnTo>
                      <a:pt x="33" y="88"/>
                    </a:lnTo>
                    <a:lnTo>
                      <a:pt x="51" y="108"/>
                    </a:lnTo>
                    <a:lnTo>
                      <a:pt x="51" y="110"/>
                    </a:lnTo>
                    <a:lnTo>
                      <a:pt x="75" y="126"/>
                    </a:lnTo>
                    <a:lnTo>
                      <a:pt x="76" y="126"/>
                    </a:lnTo>
                    <a:lnTo>
                      <a:pt x="108" y="144"/>
                    </a:lnTo>
                    <a:lnTo>
                      <a:pt x="110" y="145"/>
                    </a:lnTo>
                    <a:lnTo>
                      <a:pt x="126" y="149"/>
                    </a:lnTo>
                    <a:lnTo>
                      <a:pt x="179" y="157"/>
                    </a:lnTo>
                    <a:lnTo>
                      <a:pt x="229" y="162"/>
                    </a:lnTo>
                    <a:lnTo>
                      <a:pt x="312" y="168"/>
                    </a:lnTo>
                    <a:lnTo>
                      <a:pt x="379" y="172"/>
                    </a:lnTo>
                    <a:lnTo>
                      <a:pt x="432" y="175"/>
                    </a:lnTo>
                    <a:lnTo>
                      <a:pt x="433" y="175"/>
                    </a:lnTo>
                    <a:lnTo>
                      <a:pt x="594" y="17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Freeform 89">
                <a:extLst>
                  <a:ext uri="{FF2B5EF4-FFF2-40B4-BE49-F238E27FC236}">
                    <a16:creationId xmlns:a16="http://schemas.microsoft.com/office/drawing/2014/main" id="{D8782DE4-0463-4F7D-AA9D-3CDA0772B91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4" y="1696"/>
                <a:ext cx="436" cy="44"/>
              </a:xfrm>
              <a:custGeom>
                <a:avLst/>
                <a:gdLst/>
                <a:ahLst/>
                <a:cxnLst>
                  <a:cxn ang="0">
                    <a:pos x="349" y="36"/>
                  </a:cxn>
                  <a:cxn ang="0">
                    <a:pos x="350" y="36"/>
                  </a:cxn>
                  <a:cxn ang="0">
                    <a:pos x="354" y="33"/>
                  </a:cxn>
                  <a:cxn ang="0">
                    <a:pos x="354" y="31"/>
                  </a:cxn>
                  <a:cxn ang="0">
                    <a:pos x="355" y="30"/>
                  </a:cxn>
                  <a:cxn ang="0">
                    <a:pos x="355" y="28"/>
                  </a:cxn>
                  <a:cxn ang="0">
                    <a:pos x="354" y="26"/>
                  </a:cxn>
                  <a:cxn ang="0">
                    <a:pos x="354" y="25"/>
                  </a:cxn>
                  <a:cxn ang="0">
                    <a:pos x="352" y="23"/>
                  </a:cxn>
                  <a:cxn ang="0">
                    <a:pos x="349" y="23"/>
                  </a:cxn>
                  <a:cxn ang="0">
                    <a:pos x="272" y="22"/>
                  </a:cxn>
                  <a:cxn ang="0">
                    <a:pos x="176" y="17"/>
                  </a:cxn>
                  <a:cxn ang="0">
                    <a:pos x="90" y="9"/>
                  </a:cxn>
                  <a:cxn ang="0">
                    <a:pos x="7" y="0"/>
                  </a:cxn>
                  <a:cxn ang="0">
                    <a:pos x="5" y="13"/>
                  </a:cxn>
                  <a:cxn ang="0">
                    <a:pos x="184" y="28"/>
                  </a:cxn>
                  <a:cxn ang="0">
                    <a:pos x="226" y="28"/>
                  </a:cxn>
                  <a:cxn ang="0">
                    <a:pos x="224" y="28"/>
                  </a:cxn>
                  <a:cxn ang="0">
                    <a:pos x="274" y="30"/>
                  </a:cxn>
                  <a:cxn ang="0">
                    <a:pos x="276" y="30"/>
                  </a:cxn>
                  <a:cxn ang="0">
                    <a:pos x="352" y="31"/>
                  </a:cxn>
                  <a:cxn ang="0">
                    <a:pos x="354" y="31"/>
                  </a:cxn>
                  <a:cxn ang="0">
                    <a:pos x="357" y="28"/>
                  </a:cxn>
                  <a:cxn ang="0">
                    <a:pos x="357" y="26"/>
                  </a:cxn>
                  <a:cxn ang="0">
                    <a:pos x="359" y="25"/>
                  </a:cxn>
                  <a:cxn ang="0">
                    <a:pos x="359" y="23"/>
                  </a:cxn>
                  <a:cxn ang="0">
                    <a:pos x="357" y="22"/>
                  </a:cxn>
                  <a:cxn ang="0">
                    <a:pos x="357" y="20"/>
                  </a:cxn>
                  <a:cxn ang="0">
                    <a:pos x="355" y="18"/>
                  </a:cxn>
                  <a:cxn ang="0">
                    <a:pos x="352" y="18"/>
                  </a:cxn>
                  <a:cxn ang="0">
                    <a:pos x="276" y="17"/>
                  </a:cxn>
                  <a:cxn ang="0">
                    <a:pos x="226" y="15"/>
                  </a:cxn>
                  <a:cxn ang="0">
                    <a:pos x="186" y="15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3" y="12"/>
                  </a:cxn>
                  <a:cxn ang="0">
                    <a:pos x="5" y="13"/>
                  </a:cxn>
                  <a:cxn ang="0">
                    <a:pos x="88" y="22"/>
                  </a:cxn>
                  <a:cxn ang="0">
                    <a:pos x="174" y="30"/>
                  </a:cxn>
                  <a:cxn ang="0">
                    <a:pos x="271" y="35"/>
                  </a:cxn>
                  <a:cxn ang="0">
                    <a:pos x="272" y="35"/>
                  </a:cxn>
                  <a:cxn ang="0">
                    <a:pos x="349" y="36"/>
                  </a:cxn>
                </a:cxnLst>
                <a:rect l="0" t="0" r="r" b="b"/>
                <a:pathLst>
                  <a:path w="359" h="36">
                    <a:moveTo>
                      <a:pt x="349" y="36"/>
                    </a:moveTo>
                    <a:lnTo>
                      <a:pt x="350" y="36"/>
                    </a:lnTo>
                    <a:lnTo>
                      <a:pt x="354" y="33"/>
                    </a:lnTo>
                    <a:lnTo>
                      <a:pt x="354" y="31"/>
                    </a:lnTo>
                    <a:lnTo>
                      <a:pt x="355" y="30"/>
                    </a:lnTo>
                    <a:lnTo>
                      <a:pt x="355" y="28"/>
                    </a:lnTo>
                    <a:lnTo>
                      <a:pt x="354" y="26"/>
                    </a:lnTo>
                    <a:lnTo>
                      <a:pt x="354" y="25"/>
                    </a:lnTo>
                    <a:lnTo>
                      <a:pt x="352" y="23"/>
                    </a:lnTo>
                    <a:lnTo>
                      <a:pt x="349" y="23"/>
                    </a:lnTo>
                    <a:lnTo>
                      <a:pt x="272" y="22"/>
                    </a:lnTo>
                    <a:lnTo>
                      <a:pt x="176" y="17"/>
                    </a:lnTo>
                    <a:lnTo>
                      <a:pt x="90" y="9"/>
                    </a:lnTo>
                    <a:lnTo>
                      <a:pt x="7" y="0"/>
                    </a:lnTo>
                    <a:lnTo>
                      <a:pt x="5" y="13"/>
                    </a:lnTo>
                    <a:lnTo>
                      <a:pt x="184" y="28"/>
                    </a:lnTo>
                    <a:lnTo>
                      <a:pt x="226" y="28"/>
                    </a:lnTo>
                    <a:lnTo>
                      <a:pt x="224" y="28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7" y="28"/>
                    </a:lnTo>
                    <a:lnTo>
                      <a:pt x="357" y="26"/>
                    </a:lnTo>
                    <a:lnTo>
                      <a:pt x="359" y="25"/>
                    </a:lnTo>
                    <a:lnTo>
                      <a:pt x="359" y="23"/>
                    </a:lnTo>
                    <a:lnTo>
                      <a:pt x="357" y="22"/>
                    </a:lnTo>
                    <a:lnTo>
                      <a:pt x="357" y="20"/>
                    </a:lnTo>
                    <a:lnTo>
                      <a:pt x="355" y="18"/>
                    </a:lnTo>
                    <a:lnTo>
                      <a:pt x="352" y="18"/>
                    </a:lnTo>
                    <a:lnTo>
                      <a:pt x="276" y="17"/>
                    </a:lnTo>
                    <a:lnTo>
                      <a:pt x="226" y="15"/>
                    </a:lnTo>
                    <a:lnTo>
                      <a:pt x="186" y="15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88" y="22"/>
                    </a:lnTo>
                    <a:lnTo>
                      <a:pt x="174" y="30"/>
                    </a:lnTo>
                    <a:lnTo>
                      <a:pt x="271" y="35"/>
                    </a:lnTo>
                    <a:lnTo>
                      <a:pt x="272" y="35"/>
                    </a:lnTo>
                    <a:lnTo>
                      <a:pt x="349" y="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" name="Freeform 90">
                <a:extLst>
                  <a:ext uri="{FF2B5EF4-FFF2-40B4-BE49-F238E27FC236}">
                    <a16:creationId xmlns:a16="http://schemas.microsoft.com/office/drawing/2014/main" id="{54E29420-79E9-4F20-BC2F-B685D168C55A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1" y="1200"/>
                <a:ext cx="192" cy="246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1" y="11"/>
                  </a:cxn>
                  <a:cxn ang="0">
                    <a:pos x="10" y="18"/>
                  </a:cxn>
                  <a:cxn ang="0">
                    <a:pos x="11" y="18"/>
                  </a:cxn>
                  <a:cxn ang="0">
                    <a:pos x="23" y="24"/>
                  </a:cxn>
                  <a:cxn ang="0">
                    <a:pos x="20" y="23"/>
                  </a:cxn>
                  <a:cxn ang="0">
                    <a:pos x="28" y="34"/>
                  </a:cxn>
                  <a:cxn ang="0">
                    <a:pos x="35" y="44"/>
                  </a:cxn>
                  <a:cxn ang="0">
                    <a:pos x="35" y="42"/>
                  </a:cxn>
                  <a:cxn ang="0">
                    <a:pos x="45" y="62"/>
                  </a:cxn>
                  <a:cxn ang="0">
                    <a:pos x="45" y="64"/>
                  </a:cxn>
                  <a:cxn ang="0">
                    <a:pos x="60" y="88"/>
                  </a:cxn>
                  <a:cxn ang="0">
                    <a:pos x="89" y="130"/>
                  </a:cxn>
                  <a:cxn ang="0">
                    <a:pos x="91" y="130"/>
                  </a:cxn>
                  <a:cxn ang="0">
                    <a:pos x="106" y="147"/>
                  </a:cxn>
                  <a:cxn ang="0">
                    <a:pos x="126" y="166"/>
                  </a:cxn>
                  <a:cxn ang="0">
                    <a:pos x="126" y="168"/>
                  </a:cxn>
                  <a:cxn ang="0">
                    <a:pos x="138" y="176"/>
                  </a:cxn>
                  <a:cxn ang="0">
                    <a:pos x="138" y="174"/>
                  </a:cxn>
                  <a:cxn ang="0">
                    <a:pos x="146" y="183"/>
                  </a:cxn>
                  <a:cxn ang="0">
                    <a:pos x="144" y="178"/>
                  </a:cxn>
                  <a:cxn ang="0">
                    <a:pos x="143" y="186"/>
                  </a:cxn>
                  <a:cxn ang="0">
                    <a:pos x="144" y="183"/>
                  </a:cxn>
                  <a:cxn ang="0">
                    <a:pos x="134" y="192"/>
                  </a:cxn>
                  <a:cxn ang="0">
                    <a:pos x="134" y="199"/>
                  </a:cxn>
                  <a:cxn ang="0">
                    <a:pos x="136" y="199"/>
                  </a:cxn>
                  <a:cxn ang="0">
                    <a:pos x="138" y="201"/>
                  </a:cxn>
                  <a:cxn ang="0">
                    <a:pos x="139" y="201"/>
                  </a:cxn>
                  <a:cxn ang="0">
                    <a:pos x="141" y="202"/>
                  </a:cxn>
                  <a:cxn ang="0">
                    <a:pos x="143" y="201"/>
                  </a:cxn>
                  <a:cxn ang="0">
                    <a:pos x="144" y="201"/>
                  </a:cxn>
                  <a:cxn ang="0">
                    <a:pos x="144" y="199"/>
                  </a:cxn>
                  <a:cxn ang="0">
                    <a:pos x="153" y="191"/>
                  </a:cxn>
                  <a:cxn ang="0">
                    <a:pos x="154" y="191"/>
                  </a:cxn>
                  <a:cxn ang="0">
                    <a:pos x="154" y="189"/>
                  </a:cxn>
                  <a:cxn ang="0">
                    <a:pos x="156" y="187"/>
                  </a:cxn>
                  <a:cxn ang="0">
                    <a:pos x="158" y="179"/>
                  </a:cxn>
                  <a:cxn ang="0">
                    <a:pos x="156" y="178"/>
                  </a:cxn>
                  <a:cxn ang="0">
                    <a:pos x="156" y="176"/>
                  </a:cxn>
                  <a:cxn ang="0">
                    <a:pos x="146" y="166"/>
                  </a:cxn>
                  <a:cxn ang="0">
                    <a:pos x="146" y="165"/>
                  </a:cxn>
                  <a:cxn ang="0">
                    <a:pos x="134" y="156"/>
                  </a:cxn>
                  <a:cxn ang="0">
                    <a:pos x="134" y="158"/>
                  </a:cxn>
                  <a:cxn ang="0">
                    <a:pos x="114" y="139"/>
                  </a:cxn>
                  <a:cxn ang="0">
                    <a:pos x="116" y="139"/>
                  </a:cxn>
                  <a:cxn ang="0">
                    <a:pos x="101" y="122"/>
                  </a:cxn>
                  <a:cxn ang="0">
                    <a:pos x="71" y="80"/>
                  </a:cxn>
                  <a:cxn ang="0">
                    <a:pos x="71" y="81"/>
                  </a:cxn>
                  <a:cxn ang="0">
                    <a:pos x="56" y="57"/>
                  </a:cxn>
                  <a:cxn ang="0">
                    <a:pos x="46" y="37"/>
                  </a:cxn>
                  <a:cxn ang="0">
                    <a:pos x="46" y="36"/>
                  </a:cxn>
                  <a:cxn ang="0">
                    <a:pos x="40" y="26"/>
                  </a:cxn>
                  <a:cxn ang="0">
                    <a:pos x="31" y="15"/>
                  </a:cxn>
                  <a:cxn ang="0">
                    <a:pos x="30" y="15"/>
                  </a:cxn>
                  <a:cxn ang="0">
                    <a:pos x="30" y="13"/>
                  </a:cxn>
                  <a:cxn ang="0">
                    <a:pos x="18" y="6"/>
                  </a:cxn>
                  <a:cxn ang="0">
                    <a:pos x="18" y="8"/>
                  </a:cxn>
                  <a:cxn ang="0">
                    <a:pos x="10" y="2"/>
                  </a:cxn>
                </a:cxnLst>
                <a:rect l="0" t="0" r="r" b="b"/>
                <a:pathLst>
                  <a:path w="158" h="202">
                    <a:moveTo>
                      <a:pt x="10" y="2"/>
                    </a:moveTo>
                    <a:lnTo>
                      <a:pt x="8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23" y="24"/>
                    </a:lnTo>
                    <a:lnTo>
                      <a:pt x="20" y="23"/>
                    </a:lnTo>
                    <a:lnTo>
                      <a:pt x="28" y="34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45" y="62"/>
                    </a:lnTo>
                    <a:lnTo>
                      <a:pt x="45" y="64"/>
                    </a:lnTo>
                    <a:lnTo>
                      <a:pt x="60" y="88"/>
                    </a:lnTo>
                    <a:lnTo>
                      <a:pt x="89" y="130"/>
                    </a:lnTo>
                    <a:lnTo>
                      <a:pt x="91" y="130"/>
                    </a:lnTo>
                    <a:lnTo>
                      <a:pt x="106" y="147"/>
                    </a:lnTo>
                    <a:lnTo>
                      <a:pt x="126" y="166"/>
                    </a:lnTo>
                    <a:lnTo>
                      <a:pt x="126" y="168"/>
                    </a:lnTo>
                    <a:lnTo>
                      <a:pt x="138" y="176"/>
                    </a:lnTo>
                    <a:lnTo>
                      <a:pt x="138" y="174"/>
                    </a:lnTo>
                    <a:lnTo>
                      <a:pt x="146" y="183"/>
                    </a:lnTo>
                    <a:lnTo>
                      <a:pt x="144" y="178"/>
                    </a:lnTo>
                    <a:lnTo>
                      <a:pt x="143" y="186"/>
                    </a:lnTo>
                    <a:lnTo>
                      <a:pt x="144" y="183"/>
                    </a:lnTo>
                    <a:lnTo>
                      <a:pt x="134" y="192"/>
                    </a:lnTo>
                    <a:lnTo>
                      <a:pt x="134" y="199"/>
                    </a:lnTo>
                    <a:lnTo>
                      <a:pt x="136" y="199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1" y="202"/>
                    </a:lnTo>
                    <a:lnTo>
                      <a:pt x="143" y="201"/>
                    </a:lnTo>
                    <a:lnTo>
                      <a:pt x="144" y="201"/>
                    </a:lnTo>
                    <a:lnTo>
                      <a:pt x="144" y="19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4" y="189"/>
                    </a:lnTo>
                    <a:lnTo>
                      <a:pt x="156" y="187"/>
                    </a:lnTo>
                    <a:lnTo>
                      <a:pt x="158" y="179"/>
                    </a:lnTo>
                    <a:lnTo>
                      <a:pt x="156" y="178"/>
                    </a:lnTo>
                    <a:lnTo>
                      <a:pt x="156" y="176"/>
                    </a:lnTo>
                    <a:lnTo>
                      <a:pt x="146" y="166"/>
                    </a:lnTo>
                    <a:lnTo>
                      <a:pt x="146" y="165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14" y="139"/>
                    </a:lnTo>
                    <a:lnTo>
                      <a:pt x="116" y="139"/>
                    </a:lnTo>
                    <a:lnTo>
                      <a:pt x="101" y="122"/>
                    </a:lnTo>
                    <a:lnTo>
                      <a:pt x="71" y="80"/>
                    </a:lnTo>
                    <a:lnTo>
                      <a:pt x="71" y="81"/>
                    </a:lnTo>
                    <a:lnTo>
                      <a:pt x="56" y="57"/>
                    </a:lnTo>
                    <a:lnTo>
                      <a:pt x="46" y="37"/>
                    </a:lnTo>
                    <a:lnTo>
                      <a:pt x="46" y="36"/>
                    </a:lnTo>
                    <a:lnTo>
                      <a:pt x="40" y="26"/>
                    </a:lnTo>
                    <a:lnTo>
                      <a:pt x="31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18" y="6"/>
                    </a:lnTo>
                    <a:lnTo>
                      <a:pt x="18" y="8"/>
                    </a:ln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" name="Freeform 91">
                <a:extLst>
                  <a:ext uri="{FF2B5EF4-FFF2-40B4-BE49-F238E27FC236}">
                    <a16:creationId xmlns:a16="http://schemas.microsoft.com/office/drawing/2014/main" id="{DEBA5CDC-3644-4DC5-B45B-101C13A090D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652" y="1248"/>
                <a:ext cx="21" cy="48"/>
              </a:xfrm>
              <a:custGeom>
                <a:avLst/>
                <a:gdLst/>
                <a:ahLst/>
                <a:cxnLst>
                  <a:cxn ang="0">
                    <a:pos x="13" y="4"/>
                  </a:cxn>
                  <a:cxn ang="0">
                    <a:pos x="12" y="3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6"/>
                  </a:cxn>
                  <a:cxn ang="0">
                    <a:pos x="3" y="32"/>
                  </a:cxn>
                  <a:cxn ang="0">
                    <a:pos x="3" y="35"/>
                  </a:cxn>
                  <a:cxn ang="0">
                    <a:pos x="5" y="37"/>
                  </a:cxn>
                  <a:cxn ang="0">
                    <a:pos x="7" y="37"/>
                  </a:cxn>
                  <a:cxn ang="0">
                    <a:pos x="8" y="39"/>
                  </a:cxn>
                  <a:cxn ang="0">
                    <a:pos x="10" y="39"/>
                  </a:cxn>
                  <a:cxn ang="0">
                    <a:pos x="12" y="37"/>
                  </a:cxn>
                  <a:cxn ang="0">
                    <a:pos x="13" y="37"/>
                  </a:cxn>
                  <a:cxn ang="0">
                    <a:pos x="15" y="35"/>
                  </a:cxn>
                  <a:cxn ang="0">
                    <a:pos x="15" y="34"/>
                  </a:cxn>
                  <a:cxn ang="0">
                    <a:pos x="17" y="32"/>
                  </a:cxn>
                  <a:cxn ang="0">
                    <a:pos x="17" y="31"/>
                  </a:cxn>
                  <a:cxn ang="0">
                    <a:pos x="13" y="4"/>
                  </a:cxn>
                </a:cxnLst>
                <a:rect l="0" t="0" r="r" b="b"/>
                <a:pathLst>
                  <a:path w="17" h="39">
                    <a:moveTo>
                      <a:pt x="13" y="4"/>
                    </a:moveTo>
                    <a:lnTo>
                      <a:pt x="12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3" y="32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7" y="37"/>
                    </a:lnTo>
                    <a:lnTo>
                      <a:pt x="8" y="39"/>
                    </a:lnTo>
                    <a:lnTo>
                      <a:pt x="10" y="39"/>
                    </a:lnTo>
                    <a:lnTo>
                      <a:pt x="12" y="37"/>
                    </a:lnTo>
                    <a:lnTo>
                      <a:pt x="13" y="37"/>
                    </a:lnTo>
                    <a:lnTo>
                      <a:pt x="15" y="35"/>
                    </a:lnTo>
                    <a:lnTo>
                      <a:pt x="15" y="34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6" name="Freeform 92">
                <a:extLst>
                  <a:ext uri="{FF2B5EF4-FFF2-40B4-BE49-F238E27FC236}">
                    <a16:creationId xmlns:a16="http://schemas.microsoft.com/office/drawing/2014/main" id="{76565D38-72C7-413F-9DAA-2FCD08043C5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52" y="1953"/>
                <a:ext cx="129" cy="1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7" y="13"/>
                  </a:cxn>
                  <a:cxn ang="0">
                    <a:pos x="100" y="14"/>
                  </a:cxn>
                  <a:cxn ang="0">
                    <a:pos x="101" y="14"/>
                  </a:cxn>
                  <a:cxn ang="0">
                    <a:pos x="105" y="11"/>
                  </a:cxn>
                  <a:cxn ang="0">
                    <a:pos x="105" y="10"/>
                  </a:cxn>
                  <a:cxn ang="0">
                    <a:pos x="106" y="8"/>
                  </a:cxn>
                  <a:cxn ang="0">
                    <a:pos x="106" y="6"/>
                  </a:cxn>
                  <a:cxn ang="0">
                    <a:pos x="105" y="5"/>
                  </a:cxn>
                  <a:cxn ang="0">
                    <a:pos x="105" y="3"/>
                  </a:cxn>
                  <a:cxn ang="0">
                    <a:pos x="103" y="1"/>
                  </a:cxn>
                  <a:cxn ang="0">
                    <a:pos x="100" y="1"/>
                  </a:cxn>
                  <a:cxn ang="0">
                    <a:pos x="7" y="0"/>
                  </a:cxn>
                </a:cxnLst>
                <a:rect l="0" t="0" r="r" b="b"/>
                <a:pathLst>
                  <a:path w="106" h="14">
                    <a:moveTo>
                      <a:pt x="7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7" y="13"/>
                    </a:lnTo>
                    <a:lnTo>
                      <a:pt x="100" y="14"/>
                    </a:lnTo>
                    <a:lnTo>
                      <a:pt x="101" y="14"/>
                    </a:lnTo>
                    <a:lnTo>
                      <a:pt x="105" y="11"/>
                    </a:lnTo>
                    <a:lnTo>
                      <a:pt x="105" y="10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5" y="5"/>
                    </a:lnTo>
                    <a:lnTo>
                      <a:pt x="105" y="3"/>
                    </a:lnTo>
                    <a:lnTo>
                      <a:pt x="103" y="1"/>
                    </a:lnTo>
                    <a:lnTo>
                      <a:pt x="100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7" name="Freeform 93">
                <a:extLst>
                  <a:ext uri="{FF2B5EF4-FFF2-40B4-BE49-F238E27FC236}">
                    <a16:creationId xmlns:a16="http://schemas.microsoft.com/office/drawing/2014/main" id="{673C86E2-9969-4D1C-998B-0004792CA33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5" y="1915"/>
                <a:ext cx="60" cy="4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19" y="23"/>
                  </a:cxn>
                  <a:cxn ang="0">
                    <a:pos x="20" y="23"/>
                  </a:cxn>
                  <a:cxn ang="0">
                    <a:pos x="40" y="34"/>
                  </a:cxn>
                  <a:cxn ang="0">
                    <a:pos x="42" y="34"/>
                  </a:cxn>
                  <a:cxn ang="0">
                    <a:pos x="44" y="36"/>
                  </a:cxn>
                  <a:cxn ang="0">
                    <a:pos x="45" y="34"/>
                  </a:cxn>
                  <a:cxn ang="0">
                    <a:pos x="47" y="34"/>
                  </a:cxn>
                  <a:cxn ang="0">
                    <a:pos x="47" y="32"/>
                  </a:cxn>
                  <a:cxn ang="0">
                    <a:pos x="49" y="32"/>
                  </a:cxn>
                  <a:cxn ang="0">
                    <a:pos x="49" y="31"/>
                  </a:cxn>
                  <a:cxn ang="0">
                    <a:pos x="50" y="29"/>
                  </a:cxn>
                  <a:cxn ang="0">
                    <a:pos x="49" y="28"/>
                  </a:cxn>
                  <a:cxn ang="0">
                    <a:pos x="49" y="26"/>
                  </a:cxn>
                  <a:cxn ang="0">
                    <a:pos x="47" y="24"/>
                  </a:cxn>
                  <a:cxn ang="0">
                    <a:pos x="47" y="23"/>
                  </a:cxn>
                  <a:cxn ang="0">
                    <a:pos x="27" y="11"/>
                  </a:cxn>
                  <a:cxn ang="0">
                    <a:pos x="10" y="0"/>
                  </a:cxn>
                </a:cxnLst>
                <a:rect l="0" t="0" r="r" b="b"/>
                <a:pathLst>
                  <a:path w="50" h="36">
                    <a:moveTo>
                      <a:pt x="10" y="0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19" y="23"/>
                    </a:lnTo>
                    <a:lnTo>
                      <a:pt x="20" y="23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5" y="34"/>
                    </a:lnTo>
                    <a:lnTo>
                      <a:pt x="47" y="34"/>
                    </a:lnTo>
                    <a:lnTo>
                      <a:pt x="47" y="32"/>
                    </a:lnTo>
                    <a:lnTo>
                      <a:pt x="49" y="32"/>
                    </a:lnTo>
                    <a:lnTo>
                      <a:pt x="49" y="31"/>
                    </a:lnTo>
                    <a:lnTo>
                      <a:pt x="50" y="29"/>
                    </a:lnTo>
                    <a:lnTo>
                      <a:pt x="49" y="28"/>
                    </a:lnTo>
                    <a:lnTo>
                      <a:pt x="49" y="26"/>
                    </a:lnTo>
                    <a:lnTo>
                      <a:pt x="47" y="24"/>
                    </a:lnTo>
                    <a:lnTo>
                      <a:pt x="47" y="23"/>
                    </a:lnTo>
                    <a:lnTo>
                      <a:pt x="27" y="11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Freeform 94">
                <a:extLst>
                  <a:ext uri="{FF2B5EF4-FFF2-40B4-BE49-F238E27FC236}">
                    <a16:creationId xmlns:a16="http://schemas.microsoft.com/office/drawing/2014/main" id="{43E0680A-3B6B-4ACF-8E40-965207FE65A4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15" y="2007"/>
                <a:ext cx="125" cy="22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10" y="16"/>
                  </a:cxn>
                  <a:cxn ang="0">
                    <a:pos x="97" y="18"/>
                  </a:cxn>
                  <a:cxn ang="0">
                    <a:pos x="98" y="18"/>
                  </a:cxn>
                  <a:cxn ang="0">
                    <a:pos x="102" y="14"/>
                  </a:cxn>
                  <a:cxn ang="0">
                    <a:pos x="102" y="13"/>
                  </a:cxn>
                  <a:cxn ang="0">
                    <a:pos x="103" y="11"/>
                  </a:cxn>
                  <a:cxn ang="0">
                    <a:pos x="103" y="9"/>
                  </a:cxn>
                  <a:cxn ang="0">
                    <a:pos x="102" y="8"/>
                  </a:cxn>
                  <a:cxn ang="0">
                    <a:pos x="102" y="6"/>
                  </a:cxn>
                  <a:cxn ang="0">
                    <a:pos x="100" y="5"/>
                  </a:cxn>
                  <a:cxn ang="0">
                    <a:pos x="97" y="5"/>
                  </a:cxn>
                  <a:cxn ang="0">
                    <a:pos x="10" y="3"/>
                  </a:cxn>
                  <a:cxn ang="0">
                    <a:pos x="14" y="5"/>
                  </a:cxn>
                  <a:cxn ang="0">
                    <a:pos x="10" y="1"/>
                  </a:cxn>
                </a:cxnLst>
                <a:rect l="0" t="0" r="r" b="b"/>
                <a:pathLst>
                  <a:path w="103" h="18">
                    <a:moveTo>
                      <a:pt x="10" y="1"/>
                    </a:move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97" y="18"/>
                    </a:lnTo>
                    <a:lnTo>
                      <a:pt x="98" y="18"/>
                    </a:lnTo>
                    <a:lnTo>
                      <a:pt x="102" y="14"/>
                    </a:lnTo>
                    <a:lnTo>
                      <a:pt x="102" y="13"/>
                    </a:lnTo>
                    <a:lnTo>
                      <a:pt x="103" y="11"/>
                    </a:lnTo>
                    <a:lnTo>
                      <a:pt x="103" y="9"/>
                    </a:lnTo>
                    <a:lnTo>
                      <a:pt x="102" y="8"/>
                    </a:lnTo>
                    <a:lnTo>
                      <a:pt x="102" y="6"/>
                    </a:lnTo>
                    <a:lnTo>
                      <a:pt x="100" y="5"/>
                    </a:lnTo>
                    <a:lnTo>
                      <a:pt x="97" y="5"/>
                    </a:lnTo>
                    <a:lnTo>
                      <a:pt x="10" y="3"/>
                    </a:lnTo>
                    <a:lnTo>
                      <a:pt x="14" y="5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9" name="Freeform 95">
                <a:extLst>
                  <a:ext uri="{FF2B5EF4-FFF2-40B4-BE49-F238E27FC236}">
                    <a16:creationId xmlns:a16="http://schemas.microsoft.com/office/drawing/2014/main" id="{2EE2D1F8-AD85-4278-9252-DA634DB6EF8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8" y="1936"/>
                <a:ext cx="40" cy="34"/>
              </a:xfrm>
              <a:custGeom>
                <a:avLst/>
                <a:gdLst/>
                <a:ahLst/>
                <a:cxnLst>
                  <a:cxn ang="0">
                    <a:pos x="30" y="11"/>
                  </a:cxn>
                  <a:cxn ang="0">
                    <a:pos x="32" y="10"/>
                  </a:cxn>
                  <a:cxn ang="0">
                    <a:pos x="32" y="8"/>
                  </a:cxn>
                  <a:cxn ang="0">
                    <a:pos x="33" y="6"/>
                  </a:cxn>
                  <a:cxn ang="0">
                    <a:pos x="33" y="5"/>
                  </a:cxn>
                  <a:cxn ang="0">
                    <a:pos x="32" y="3"/>
                  </a:cxn>
                  <a:cxn ang="0">
                    <a:pos x="32" y="2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" y="15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3" y="26"/>
                  </a:cxn>
                  <a:cxn ang="0">
                    <a:pos x="5" y="28"/>
                  </a:cxn>
                  <a:cxn ang="0">
                    <a:pos x="7" y="28"/>
                  </a:cxn>
                  <a:cxn ang="0">
                    <a:pos x="8" y="26"/>
                  </a:cxn>
                  <a:cxn ang="0">
                    <a:pos x="10" y="26"/>
                  </a:cxn>
                  <a:cxn ang="0">
                    <a:pos x="30" y="11"/>
                  </a:cxn>
                </a:cxnLst>
                <a:rect l="0" t="0" r="r" b="b"/>
                <a:pathLst>
                  <a:path w="33" h="28">
                    <a:moveTo>
                      <a:pt x="30" y="11"/>
                    </a:moveTo>
                    <a:lnTo>
                      <a:pt x="32" y="10"/>
                    </a:lnTo>
                    <a:lnTo>
                      <a:pt x="32" y="8"/>
                    </a:lnTo>
                    <a:lnTo>
                      <a:pt x="33" y="6"/>
                    </a:lnTo>
                    <a:lnTo>
                      <a:pt x="33" y="5"/>
                    </a:lnTo>
                    <a:lnTo>
                      <a:pt x="32" y="3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3" y="26"/>
                    </a:lnTo>
                    <a:lnTo>
                      <a:pt x="5" y="28"/>
                    </a:lnTo>
                    <a:lnTo>
                      <a:pt x="7" y="28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3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Freeform 96">
                <a:extLst>
                  <a:ext uri="{FF2B5EF4-FFF2-40B4-BE49-F238E27FC236}">
                    <a16:creationId xmlns:a16="http://schemas.microsoft.com/office/drawing/2014/main" id="{E29A8BD5-19DD-4542-9575-66759E980E9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07" y="1973"/>
                <a:ext cx="204" cy="123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3" y="15"/>
                  </a:cxn>
                  <a:cxn ang="0">
                    <a:pos x="37" y="26"/>
                  </a:cxn>
                  <a:cxn ang="0">
                    <a:pos x="71" y="56"/>
                  </a:cxn>
                  <a:cxn ang="0">
                    <a:pos x="91" y="74"/>
                  </a:cxn>
                  <a:cxn ang="0">
                    <a:pos x="113" y="92"/>
                  </a:cxn>
                  <a:cxn ang="0">
                    <a:pos x="133" y="100"/>
                  </a:cxn>
                  <a:cxn ang="0">
                    <a:pos x="151" y="101"/>
                  </a:cxn>
                  <a:cxn ang="0">
                    <a:pos x="161" y="97"/>
                  </a:cxn>
                  <a:cxn ang="0">
                    <a:pos x="164" y="95"/>
                  </a:cxn>
                  <a:cxn ang="0">
                    <a:pos x="166" y="92"/>
                  </a:cxn>
                  <a:cxn ang="0">
                    <a:pos x="168" y="80"/>
                  </a:cxn>
                  <a:cxn ang="0">
                    <a:pos x="158" y="51"/>
                  </a:cxn>
                  <a:cxn ang="0">
                    <a:pos x="146" y="23"/>
                  </a:cxn>
                  <a:cxn ang="0">
                    <a:pos x="138" y="5"/>
                  </a:cxn>
                  <a:cxn ang="0">
                    <a:pos x="134" y="4"/>
                  </a:cxn>
                  <a:cxn ang="0">
                    <a:pos x="110" y="0"/>
                  </a:cxn>
                  <a:cxn ang="0">
                    <a:pos x="90" y="5"/>
                  </a:cxn>
                  <a:cxn ang="0">
                    <a:pos x="86" y="15"/>
                  </a:cxn>
                  <a:cxn ang="0">
                    <a:pos x="90" y="17"/>
                  </a:cxn>
                  <a:cxn ang="0">
                    <a:pos x="93" y="18"/>
                  </a:cxn>
                  <a:cxn ang="0">
                    <a:pos x="113" y="12"/>
                  </a:cxn>
                  <a:cxn ang="0">
                    <a:pos x="126" y="13"/>
                  </a:cxn>
                  <a:cxn ang="0">
                    <a:pos x="129" y="15"/>
                  </a:cxn>
                  <a:cxn ang="0">
                    <a:pos x="134" y="28"/>
                  </a:cxn>
                  <a:cxn ang="0">
                    <a:pos x="154" y="83"/>
                  </a:cxn>
                  <a:cxn ang="0">
                    <a:pos x="153" y="90"/>
                  </a:cxn>
                  <a:cxn ang="0">
                    <a:pos x="148" y="88"/>
                  </a:cxn>
                  <a:cxn ang="0">
                    <a:pos x="136" y="88"/>
                  </a:cxn>
                  <a:cxn ang="0">
                    <a:pos x="120" y="80"/>
                  </a:cxn>
                  <a:cxn ang="0">
                    <a:pos x="100" y="64"/>
                  </a:cxn>
                  <a:cxn ang="0">
                    <a:pos x="80" y="46"/>
                  </a:cxn>
                  <a:cxn ang="0">
                    <a:pos x="43" y="15"/>
                  </a:cxn>
                  <a:cxn ang="0">
                    <a:pos x="28" y="10"/>
                  </a:cxn>
                </a:cxnLst>
                <a:rect l="0" t="0" r="r" b="b"/>
                <a:pathLst>
                  <a:path w="168" h="101">
                    <a:moveTo>
                      <a:pt x="8" y="4"/>
                    </a:moveTo>
                    <a:lnTo>
                      <a:pt x="3" y="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3" y="22"/>
                    </a:lnTo>
                    <a:lnTo>
                      <a:pt x="37" y="26"/>
                    </a:lnTo>
                    <a:lnTo>
                      <a:pt x="35" y="26"/>
                    </a:lnTo>
                    <a:lnTo>
                      <a:pt x="71" y="56"/>
                    </a:lnTo>
                    <a:lnTo>
                      <a:pt x="71" y="54"/>
                    </a:lnTo>
                    <a:lnTo>
                      <a:pt x="91" y="74"/>
                    </a:lnTo>
                    <a:lnTo>
                      <a:pt x="91" y="75"/>
                    </a:lnTo>
                    <a:lnTo>
                      <a:pt x="113" y="92"/>
                    </a:lnTo>
                    <a:lnTo>
                      <a:pt x="115" y="92"/>
                    </a:lnTo>
                    <a:lnTo>
                      <a:pt x="133" y="100"/>
                    </a:lnTo>
                    <a:lnTo>
                      <a:pt x="134" y="101"/>
                    </a:lnTo>
                    <a:lnTo>
                      <a:pt x="151" y="101"/>
                    </a:lnTo>
                    <a:lnTo>
                      <a:pt x="153" y="100"/>
                    </a:lnTo>
                    <a:lnTo>
                      <a:pt x="161" y="97"/>
                    </a:lnTo>
                    <a:lnTo>
                      <a:pt x="163" y="97"/>
                    </a:lnTo>
                    <a:lnTo>
                      <a:pt x="164" y="95"/>
                    </a:lnTo>
                    <a:lnTo>
                      <a:pt x="164" y="93"/>
                    </a:lnTo>
                    <a:lnTo>
                      <a:pt x="166" y="92"/>
                    </a:lnTo>
                    <a:lnTo>
                      <a:pt x="168" y="82"/>
                    </a:lnTo>
                    <a:lnTo>
                      <a:pt x="168" y="80"/>
                    </a:lnTo>
                    <a:lnTo>
                      <a:pt x="166" y="80"/>
                    </a:lnTo>
                    <a:lnTo>
                      <a:pt x="158" y="51"/>
                    </a:lnTo>
                    <a:lnTo>
                      <a:pt x="158" y="49"/>
                    </a:lnTo>
                    <a:lnTo>
                      <a:pt x="146" y="23"/>
                    </a:lnTo>
                    <a:lnTo>
                      <a:pt x="138" y="7"/>
                    </a:lnTo>
                    <a:lnTo>
                      <a:pt x="138" y="5"/>
                    </a:lnTo>
                    <a:lnTo>
                      <a:pt x="136" y="4"/>
                    </a:lnTo>
                    <a:lnTo>
                      <a:pt x="134" y="4"/>
                    </a:lnTo>
                    <a:lnTo>
                      <a:pt x="128" y="0"/>
                    </a:lnTo>
                    <a:lnTo>
                      <a:pt x="110" y="0"/>
                    </a:lnTo>
                    <a:lnTo>
                      <a:pt x="91" y="5"/>
                    </a:lnTo>
                    <a:lnTo>
                      <a:pt x="90" y="5"/>
                    </a:lnTo>
                    <a:lnTo>
                      <a:pt x="86" y="8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7"/>
                    </a:lnTo>
                    <a:lnTo>
                      <a:pt x="91" y="17"/>
                    </a:lnTo>
                    <a:lnTo>
                      <a:pt x="93" y="18"/>
                    </a:lnTo>
                    <a:lnTo>
                      <a:pt x="95" y="17"/>
                    </a:lnTo>
                    <a:lnTo>
                      <a:pt x="113" y="12"/>
                    </a:lnTo>
                    <a:lnTo>
                      <a:pt x="111" y="13"/>
                    </a:lnTo>
                    <a:lnTo>
                      <a:pt x="126" y="13"/>
                    </a:lnTo>
                    <a:lnTo>
                      <a:pt x="123" y="12"/>
                    </a:lnTo>
                    <a:lnTo>
                      <a:pt x="129" y="15"/>
                    </a:lnTo>
                    <a:lnTo>
                      <a:pt x="126" y="12"/>
                    </a:lnTo>
                    <a:lnTo>
                      <a:pt x="134" y="28"/>
                    </a:lnTo>
                    <a:lnTo>
                      <a:pt x="146" y="54"/>
                    </a:lnTo>
                    <a:lnTo>
                      <a:pt x="154" y="83"/>
                    </a:lnTo>
                    <a:lnTo>
                      <a:pt x="154" y="80"/>
                    </a:lnTo>
                    <a:lnTo>
                      <a:pt x="153" y="90"/>
                    </a:lnTo>
                    <a:lnTo>
                      <a:pt x="156" y="85"/>
                    </a:lnTo>
                    <a:lnTo>
                      <a:pt x="148" y="88"/>
                    </a:lnTo>
                    <a:lnTo>
                      <a:pt x="151" y="88"/>
                    </a:lnTo>
                    <a:lnTo>
                      <a:pt x="136" y="88"/>
                    </a:lnTo>
                    <a:lnTo>
                      <a:pt x="138" y="88"/>
                    </a:lnTo>
                    <a:lnTo>
                      <a:pt x="120" y="80"/>
                    </a:lnTo>
                    <a:lnTo>
                      <a:pt x="121" y="8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80" y="46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1" y="15"/>
                    </a:lnTo>
                    <a:lnTo>
                      <a:pt x="28" y="10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1" name="Freeform 97">
                <a:extLst>
                  <a:ext uri="{FF2B5EF4-FFF2-40B4-BE49-F238E27FC236}">
                    <a16:creationId xmlns:a16="http://schemas.microsoft.com/office/drawing/2014/main" id="{6EB42BBB-2A82-4CCB-BDAA-CFCF0A6AA288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383" y="2049"/>
                <a:ext cx="53" cy="116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16"/>
                  </a:cxn>
                  <a:cxn ang="0">
                    <a:pos x="17" y="67"/>
                  </a:cxn>
                  <a:cxn ang="0">
                    <a:pos x="25" y="86"/>
                  </a:cxn>
                  <a:cxn ang="0">
                    <a:pos x="25" y="88"/>
                  </a:cxn>
                  <a:cxn ang="0">
                    <a:pos x="27" y="90"/>
                  </a:cxn>
                  <a:cxn ang="0">
                    <a:pos x="32" y="93"/>
                  </a:cxn>
                  <a:cxn ang="0">
                    <a:pos x="33" y="93"/>
                  </a:cxn>
                  <a:cxn ang="0">
                    <a:pos x="35" y="95"/>
                  </a:cxn>
                  <a:cxn ang="0">
                    <a:pos x="37" y="95"/>
                  </a:cxn>
                  <a:cxn ang="0">
                    <a:pos x="38" y="93"/>
                  </a:cxn>
                  <a:cxn ang="0">
                    <a:pos x="40" y="93"/>
                  </a:cxn>
                  <a:cxn ang="0">
                    <a:pos x="42" y="91"/>
                  </a:cxn>
                  <a:cxn ang="0">
                    <a:pos x="42" y="90"/>
                  </a:cxn>
                  <a:cxn ang="0">
                    <a:pos x="43" y="88"/>
                  </a:cxn>
                  <a:cxn ang="0">
                    <a:pos x="43" y="86"/>
                  </a:cxn>
                  <a:cxn ang="0">
                    <a:pos x="42" y="85"/>
                  </a:cxn>
                  <a:cxn ang="0">
                    <a:pos x="42" y="83"/>
                  </a:cxn>
                  <a:cxn ang="0">
                    <a:pos x="40" y="81"/>
                  </a:cxn>
                  <a:cxn ang="0">
                    <a:pos x="35" y="78"/>
                  </a:cxn>
                  <a:cxn ang="0">
                    <a:pos x="37" y="81"/>
                  </a:cxn>
                  <a:cxn ang="0">
                    <a:pos x="28" y="62"/>
                  </a:cxn>
                  <a:cxn ang="0">
                    <a:pos x="12" y="11"/>
                  </a:cxn>
                  <a:cxn ang="0">
                    <a:pos x="13" y="15"/>
                  </a:cxn>
                  <a:cxn ang="0">
                    <a:pos x="13" y="6"/>
                  </a:cxn>
                </a:cxnLst>
                <a:rect l="0" t="0" r="r" b="b"/>
                <a:pathLst>
                  <a:path w="43" h="95">
                    <a:moveTo>
                      <a:pt x="13" y="6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16"/>
                    </a:lnTo>
                    <a:lnTo>
                      <a:pt x="17" y="67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7" y="90"/>
                    </a:lnTo>
                    <a:lnTo>
                      <a:pt x="32" y="93"/>
                    </a:lnTo>
                    <a:lnTo>
                      <a:pt x="33" y="93"/>
                    </a:lnTo>
                    <a:lnTo>
                      <a:pt x="35" y="95"/>
                    </a:lnTo>
                    <a:lnTo>
                      <a:pt x="37" y="95"/>
                    </a:lnTo>
                    <a:lnTo>
                      <a:pt x="38" y="93"/>
                    </a:lnTo>
                    <a:lnTo>
                      <a:pt x="40" y="93"/>
                    </a:lnTo>
                    <a:lnTo>
                      <a:pt x="42" y="91"/>
                    </a:lnTo>
                    <a:lnTo>
                      <a:pt x="42" y="90"/>
                    </a:lnTo>
                    <a:lnTo>
                      <a:pt x="43" y="88"/>
                    </a:lnTo>
                    <a:lnTo>
                      <a:pt x="43" y="86"/>
                    </a:lnTo>
                    <a:lnTo>
                      <a:pt x="42" y="85"/>
                    </a:lnTo>
                    <a:lnTo>
                      <a:pt x="42" y="83"/>
                    </a:lnTo>
                    <a:lnTo>
                      <a:pt x="40" y="81"/>
                    </a:lnTo>
                    <a:lnTo>
                      <a:pt x="35" y="78"/>
                    </a:lnTo>
                    <a:lnTo>
                      <a:pt x="37" y="81"/>
                    </a:lnTo>
                    <a:lnTo>
                      <a:pt x="28" y="62"/>
                    </a:lnTo>
                    <a:lnTo>
                      <a:pt x="12" y="11"/>
                    </a:lnTo>
                    <a:lnTo>
                      <a:pt x="13" y="15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98">
                <a:extLst>
                  <a:ext uri="{FF2B5EF4-FFF2-40B4-BE49-F238E27FC236}">
                    <a16:creationId xmlns:a16="http://schemas.microsoft.com/office/drawing/2014/main" id="{6FFFDA69-44E8-4E43-AD7D-D50E6F122E2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66" y="2055"/>
                <a:ext cx="28" cy="42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31"/>
                  </a:cxn>
                  <a:cxn ang="0">
                    <a:pos x="2" y="31"/>
                  </a:cxn>
                  <a:cxn ang="0">
                    <a:pos x="4" y="32"/>
                  </a:cxn>
                  <a:cxn ang="0">
                    <a:pos x="5" y="32"/>
                  </a:cxn>
                  <a:cxn ang="0">
                    <a:pos x="7" y="34"/>
                  </a:cxn>
                  <a:cxn ang="0">
                    <a:pos x="9" y="32"/>
                  </a:cxn>
                  <a:cxn ang="0">
                    <a:pos x="10" y="32"/>
                  </a:cxn>
                  <a:cxn ang="0">
                    <a:pos x="10" y="31"/>
                  </a:cxn>
                  <a:cxn ang="0">
                    <a:pos x="12" y="31"/>
                  </a:cxn>
                  <a:cxn ang="0">
                    <a:pos x="12" y="29"/>
                  </a:cxn>
                  <a:cxn ang="0">
                    <a:pos x="14" y="28"/>
                  </a:cxn>
                  <a:cxn ang="0">
                    <a:pos x="14" y="21"/>
                  </a:cxn>
                  <a:cxn ang="0">
                    <a:pos x="12" y="24"/>
                  </a:cxn>
                  <a:cxn ang="0">
                    <a:pos x="22" y="10"/>
                  </a:cxn>
                  <a:cxn ang="0">
                    <a:pos x="22" y="8"/>
                  </a:cxn>
                  <a:cxn ang="0">
                    <a:pos x="23" y="6"/>
                  </a:cxn>
                  <a:cxn ang="0">
                    <a:pos x="23" y="5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0" y="16"/>
                  </a:cxn>
                  <a:cxn ang="0">
                    <a:pos x="0" y="21"/>
                  </a:cxn>
                  <a:cxn ang="0">
                    <a:pos x="0" y="28"/>
                  </a:cxn>
                </a:cxnLst>
                <a:rect l="0" t="0" r="r" b="b"/>
                <a:pathLst>
                  <a:path w="23" h="34">
                    <a:moveTo>
                      <a:pt x="0" y="28"/>
                    </a:moveTo>
                    <a:lnTo>
                      <a:pt x="0" y="31"/>
                    </a:lnTo>
                    <a:lnTo>
                      <a:pt x="2" y="31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4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2" y="31"/>
                    </a:lnTo>
                    <a:lnTo>
                      <a:pt x="12" y="29"/>
                    </a:lnTo>
                    <a:lnTo>
                      <a:pt x="14" y="28"/>
                    </a:lnTo>
                    <a:lnTo>
                      <a:pt x="14" y="21"/>
                    </a:lnTo>
                    <a:lnTo>
                      <a:pt x="12" y="24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3" y="6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3" name="Freeform 99">
                <a:extLst>
                  <a:ext uri="{FF2B5EF4-FFF2-40B4-BE49-F238E27FC236}">
                    <a16:creationId xmlns:a16="http://schemas.microsoft.com/office/drawing/2014/main" id="{92D476AB-7945-430D-A6CE-81DF334EEAC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11" y="2249"/>
                <a:ext cx="589" cy="105"/>
              </a:xfrm>
              <a:custGeom>
                <a:avLst/>
                <a:gdLst/>
                <a:ahLst/>
                <a:cxnLst>
                  <a:cxn ang="0">
                    <a:pos x="5" y="58"/>
                  </a:cxn>
                  <a:cxn ang="0">
                    <a:pos x="4" y="58"/>
                  </a:cxn>
                  <a:cxn ang="0">
                    <a:pos x="0" y="62"/>
                  </a:cxn>
                  <a:cxn ang="0">
                    <a:pos x="0" y="68"/>
                  </a:cxn>
                  <a:cxn ang="0">
                    <a:pos x="2" y="68"/>
                  </a:cxn>
                  <a:cxn ang="0">
                    <a:pos x="4" y="70"/>
                  </a:cxn>
                  <a:cxn ang="0">
                    <a:pos x="7" y="71"/>
                  </a:cxn>
                  <a:cxn ang="0">
                    <a:pos x="9" y="71"/>
                  </a:cxn>
                  <a:cxn ang="0">
                    <a:pos x="64" y="58"/>
                  </a:cxn>
                  <a:cxn ang="0">
                    <a:pos x="62" y="58"/>
                  </a:cxn>
                  <a:cxn ang="0">
                    <a:pos x="142" y="42"/>
                  </a:cxn>
                  <a:cxn ang="0">
                    <a:pos x="245" y="26"/>
                  </a:cxn>
                  <a:cxn ang="0">
                    <a:pos x="301" y="19"/>
                  </a:cxn>
                  <a:cxn ang="0">
                    <a:pos x="369" y="14"/>
                  </a:cxn>
                  <a:cxn ang="0">
                    <a:pos x="421" y="13"/>
                  </a:cxn>
                  <a:cxn ang="0">
                    <a:pos x="475" y="14"/>
                  </a:cxn>
                  <a:cxn ang="0">
                    <a:pos x="469" y="9"/>
                  </a:cxn>
                  <a:cxn ang="0">
                    <a:pos x="470" y="13"/>
                  </a:cxn>
                  <a:cxn ang="0">
                    <a:pos x="470" y="8"/>
                  </a:cxn>
                  <a:cxn ang="0">
                    <a:pos x="457" y="31"/>
                  </a:cxn>
                  <a:cxn ang="0">
                    <a:pos x="442" y="57"/>
                  </a:cxn>
                  <a:cxn ang="0">
                    <a:pos x="444" y="55"/>
                  </a:cxn>
                  <a:cxn ang="0">
                    <a:pos x="427" y="75"/>
                  </a:cxn>
                  <a:cxn ang="0">
                    <a:pos x="426" y="76"/>
                  </a:cxn>
                  <a:cxn ang="0">
                    <a:pos x="426" y="83"/>
                  </a:cxn>
                  <a:cxn ang="0">
                    <a:pos x="427" y="84"/>
                  </a:cxn>
                  <a:cxn ang="0">
                    <a:pos x="429" y="84"/>
                  </a:cxn>
                  <a:cxn ang="0">
                    <a:pos x="430" y="86"/>
                  </a:cxn>
                  <a:cxn ang="0">
                    <a:pos x="432" y="86"/>
                  </a:cxn>
                  <a:cxn ang="0">
                    <a:pos x="434" y="84"/>
                  </a:cxn>
                  <a:cxn ang="0">
                    <a:pos x="435" y="84"/>
                  </a:cxn>
                  <a:cxn ang="0">
                    <a:pos x="437" y="83"/>
                  </a:cxn>
                  <a:cxn ang="0">
                    <a:pos x="454" y="63"/>
                  </a:cxn>
                  <a:cxn ang="0">
                    <a:pos x="469" y="37"/>
                  </a:cxn>
                  <a:cxn ang="0">
                    <a:pos x="482" y="14"/>
                  </a:cxn>
                  <a:cxn ang="0">
                    <a:pos x="482" y="13"/>
                  </a:cxn>
                  <a:cxn ang="0">
                    <a:pos x="484" y="11"/>
                  </a:cxn>
                  <a:cxn ang="0">
                    <a:pos x="484" y="9"/>
                  </a:cxn>
                  <a:cxn ang="0">
                    <a:pos x="482" y="8"/>
                  </a:cxn>
                  <a:cxn ang="0">
                    <a:pos x="480" y="4"/>
                  </a:cxn>
                  <a:cxn ang="0">
                    <a:pos x="480" y="3"/>
                  </a:cxn>
                  <a:cxn ang="0">
                    <a:pos x="479" y="1"/>
                  </a:cxn>
                  <a:cxn ang="0">
                    <a:pos x="475" y="1"/>
                  </a:cxn>
                  <a:cxn ang="0">
                    <a:pos x="421" y="0"/>
                  </a:cxn>
                  <a:cxn ang="0">
                    <a:pos x="419" y="0"/>
                  </a:cxn>
                  <a:cxn ang="0">
                    <a:pos x="367" y="1"/>
                  </a:cxn>
                  <a:cxn ang="0">
                    <a:pos x="299" y="6"/>
                  </a:cxn>
                  <a:cxn ang="0">
                    <a:pos x="243" y="13"/>
                  </a:cxn>
                  <a:cxn ang="0">
                    <a:pos x="140" y="29"/>
                  </a:cxn>
                  <a:cxn ang="0">
                    <a:pos x="60" y="45"/>
                  </a:cxn>
                  <a:cxn ang="0">
                    <a:pos x="5" y="58"/>
                  </a:cxn>
                </a:cxnLst>
                <a:rect l="0" t="0" r="r" b="b"/>
                <a:pathLst>
                  <a:path w="484" h="86">
                    <a:moveTo>
                      <a:pt x="5" y="58"/>
                    </a:moveTo>
                    <a:lnTo>
                      <a:pt x="4" y="58"/>
                    </a:lnTo>
                    <a:lnTo>
                      <a:pt x="0" y="62"/>
                    </a:lnTo>
                    <a:lnTo>
                      <a:pt x="0" y="68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7" y="71"/>
                    </a:lnTo>
                    <a:lnTo>
                      <a:pt x="9" y="71"/>
                    </a:lnTo>
                    <a:lnTo>
                      <a:pt x="64" y="58"/>
                    </a:lnTo>
                    <a:lnTo>
                      <a:pt x="62" y="58"/>
                    </a:lnTo>
                    <a:lnTo>
                      <a:pt x="142" y="42"/>
                    </a:lnTo>
                    <a:lnTo>
                      <a:pt x="245" y="26"/>
                    </a:lnTo>
                    <a:lnTo>
                      <a:pt x="301" y="19"/>
                    </a:lnTo>
                    <a:lnTo>
                      <a:pt x="369" y="14"/>
                    </a:lnTo>
                    <a:lnTo>
                      <a:pt x="421" y="13"/>
                    </a:lnTo>
                    <a:lnTo>
                      <a:pt x="475" y="14"/>
                    </a:lnTo>
                    <a:lnTo>
                      <a:pt x="469" y="9"/>
                    </a:lnTo>
                    <a:lnTo>
                      <a:pt x="470" y="13"/>
                    </a:lnTo>
                    <a:lnTo>
                      <a:pt x="470" y="8"/>
                    </a:lnTo>
                    <a:lnTo>
                      <a:pt x="457" y="31"/>
                    </a:lnTo>
                    <a:lnTo>
                      <a:pt x="442" y="57"/>
                    </a:lnTo>
                    <a:lnTo>
                      <a:pt x="444" y="55"/>
                    </a:lnTo>
                    <a:lnTo>
                      <a:pt x="427" y="75"/>
                    </a:lnTo>
                    <a:lnTo>
                      <a:pt x="426" y="76"/>
                    </a:lnTo>
                    <a:lnTo>
                      <a:pt x="426" y="83"/>
                    </a:lnTo>
                    <a:lnTo>
                      <a:pt x="427" y="84"/>
                    </a:lnTo>
                    <a:lnTo>
                      <a:pt x="429" y="84"/>
                    </a:lnTo>
                    <a:lnTo>
                      <a:pt x="430" y="86"/>
                    </a:lnTo>
                    <a:lnTo>
                      <a:pt x="432" y="86"/>
                    </a:lnTo>
                    <a:lnTo>
                      <a:pt x="434" y="84"/>
                    </a:lnTo>
                    <a:lnTo>
                      <a:pt x="435" y="84"/>
                    </a:lnTo>
                    <a:lnTo>
                      <a:pt x="437" y="83"/>
                    </a:lnTo>
                    <a:lnTo>
                      <a:pt x="454" y="63"/>
                    </a:lnTo>
                    <a:lnTo>
                      <a:pt x="469" y="37"/>
                    </a:lnTo>
                    <a:lnTo>
                      <a:pt x="482" y="14"/>
                    </a:lnTo>
                    <a:lnTo>
                      <a:pt x="482" y="13"/>
                    </a:lnTo>
                    <a:lnTo>
                      <a:pt x="484" y="11"/>
                    </a:lnTo>
                    <a:lnTo>
                      <a:pt x="484" y="9"/>
                    </a:lnTo>
                    <a:lnTo>
                      <a:pt x="482" y="8"/>
                    </a:lnTo>
                    <a:lnTo>
                      <a:pt x="480" y="4"/>
                    </a:lnTo>
                    <a:lnTo>
                      <a:pt x="480" y="3"/>
                    </a:lnTo>
                    <a:lnTo>
                      <a:pt x="479" y="1"/>
                    </a:lnTo>
                    <a:lnTo>
                      <a:pt x="475" y="1"/>
                    </a:lnTo>
                    <a:lnTo>
                      <a:pt x="421" y="0"/>
                    </a:lnTo>
                    <a:lnTo>
                      <a:pt x="419" y="0"/>
                    </a:lnTo>
                    <a:lnTo>
                      <a:pt x="367" y="1"/>
                    </a:lnTo>
                    <a:lnTo>
                      <a:pt x="299" y="6"/>
                    </a:lnTo>
                    <a:lnTo>
                      <a:pt x="243" y="13"/>
                    </a:lnTo>
                    <a:lnTo>
                      <a:pt x="140" y="29"/>
                    </a:lnTo>
                    <a:lnTo>
                      <a:pt x="60" y="45"/>
                    </a:lnTo>
                    <a:lnTo>
                      <a:pt x="5" y="5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100">
                <a:extLst>
                  <a:ext uri="{FF2B5EF4-FFF2-40B4-BE49-F238E27FC236}">
                    <a16:creationId xmlns:a16="http://schemas.microsoft.com/office/drawing/2014/main" id="{5CF0C9B2-BDFE-4B96-A9A0-468E4AC104E5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42" y="2501"/>
                <a:ext cx="90" cy="182"/>
              </a:xfrm>
              <a:custGeom>
                <a:avLst/>
                <a:gdLst/>
                <a:ahLst/>
                <a:cxnLst>
                  <a:cxn ang="0">
                    <a:pos x="73" y="8"/>
                  </a:cxn>
                  <a:cxn ang="0">
                    <a:pos x="74" y="7"/>
                  </a:cxn>
                  <a:cxn ang="0">
                    <a:pos x="74" y="5"/>
                  </a:cxn>
                  <a:cxn ang="0">
                    <a:pos x="73" y="3"/>
                  </a:cxn>
                  <a:cxn ang="0">
                    <a:pos x="73" y="2"/>
                  </a:cxn>
                  <a:cxn ang="0">
                    <a:pos x="71" y="0"/>
                  </a:cxn>
                  <a:cxn ang="0">
                    <a:pos x="65" y="0"/>
                  </a:cxn>
                  <a:cxn ang="0">
                    <a:pos x="63" y="2"/>
                  </a:cxn>
                  <a:cxn ang="0">
                    <a:pos x="61" y="2"/>
                  </a:cxn>
                  <a:cxn ang="0">
                    <a:pos x="61" y="3"/>
                  </a:cxn>
                  <a:cxn ang="0">
                    <a:pos x="46" y="44"/>
                  </a:cxn>
                  <a:cxn ang="0">
                    <a:pos x="31" y="72"/>
                  </a:cxn>
                  <a:cxn ang="0">
                    <a:pos x="18" y="93"/>
                  </a:cxn>
                  <a:cxn ang="0">
                    <a:pos x="18" y="96"/>
                  </a:cxn>
                  <a:cxn ang="0">
                    <a:pos x="20" y="105"/>
                  </a:cxn>
                  <a:cxn ang="0">
                    <a:pos x="20" y="101"/>
                  </a:cxn>
                  <a:cxn ang="0">
                    <a:pos x="15" y="116"/>
                  </a:cxn>
                  <a:cxn ang="0">
                    <a:pos x="6" y="131"/>
                  </a:cxn>
                  <a:cxn ang="0">
                    <a:pos x="8" y="129"/>
                  </a:cxn>
                  <a:cxn ang="0">
                    <a:pos x="1" y="137"/>
                  </a:cxn>
                  <a:cxn ang="0">
                    <a:pos x="0" y="139"/>
                  </a:cxn>
                  <a:cxn ang="0">
                    <a:pos x="0" y="145"/>
                  </a:cxn>
                  <a:cxn ang="0">
                    <a:pos x="1" y="147"/>
                  </a:cxn>
                  <a:cxn ang="0">
                    <a:pos x="3" y="147"/>
                  </a:cxn>
                  <a:cxn ang="0">
                    <a:pos x="5" y="149"/>
                  </a:cxn>
                  <a:cxn ang="0">
                    <a:pos x="6" y="149"/>
                  </a:cxn>
                  <a:cxn ang="0">
                    <a:pos x="8" y="147"/>
                  </a:cxn>
                  <a:cxn ang="0">
                    <a:pos x="10" y="147"/>
                  </a:cxn>
                  <a:cxn ang="0">
                    <a:pos x="11" y="145"/>
                  </a:cxn>
                  <a:cxn ang="0">
                    <a:pos x="18" y="137"/>
                  </a:cxn>
                  <a:cxn ang="0">
                    <a:pos x="26" y="123"/>
                  </a:cxn>
                  <a:cxn ang="0">
                    <a:pos x="26" y="121"/>
                  </a:cxn>
                  <a:cxn ang="0">
                    <a:pos x="31" y="106"/>
                  </a:cxn>
                  <a:cxn ang="0">
                    <a:pos x="33" y="105"/>
                  </a:cxn>
                  <a:cxn ang="0">
                    <a:pos x="33" y="103"/>
                  </a:cxn>
                  <a:cxn ang="0">
                    <a:pos x="31" y="95"/>
                  </a:cxn>
                  <a:cxn ang="0">
                    <a:pos x="30" y="100"/>
                  </a:cxn>
                  <a:cxn ang="0">
                    <a:pos x="43" y="79"/>
                  </a:cxn>
                  <a:cxn ang="0">
                    <a:pos x="43" y="77"/>
                  </a:cxn>
                  <a:cxn ang="0">
                    <a:pos x="58" y="49"/>
                  </a:cxn>
                  <a:cxn ang="0">
                    <a:pos x="73" y="8"/>
                  </a:cxn>
                </a:cxnLst>
                <a:rect l="0" t="0" r="r" b="b"/>
                <a:pathLst>
                  <a:path w="74" h="149">
                    <a:moveTo>
                      <a:pt x="73" y="8"/>
                    </a:moveTo>
                    <a:lnTo>
                      <a:pt x="74" y="7"/>
                    </a:lnTo>
                    <a:lnTo>
                      <a:pt x="74" y="5"/>
                    </a:lnTo>
                    <a:lnTo>
                      <a:pt x="73" y="3"/>
                    </a:lnTo>
                    <a:lnTo>
                      <a:pt x="73" y="2"/>
                    </a:lnTo>
                    <a:lnTo>
                      <a:pt x="71" y="0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46" y="44"/>
                    </a:lnTo>
                    <a:lnTo>
                      <a:pt x="31" y="72"/>
                    </a:lnTo>
                    <a:lnTo>
                      <a:pt x="18" y="93"/>
                    </a:lnTo>
                    <a:lnTo>
                      <a:pt x="18" y="96"/>
                    </a:lnTo>
                    <a:lnTo>
                      <a:pt x="20" y="105"/>
                    </a:lnTo>
                    <a:lnTo>
                      <a:pt x="20" y="101"/>
                    </a:lnTo>
                    <a:lnTo>
                      <a:pt x="15" y="116"/>
                    </a:lnTo>
                    <a:lnTo>
                      <a:pt x="6" y="131"/>
                    </a:lnTo>
                    <a:lnTo>
                      <a:pt x="8" y="129"/>
                    </a:lnTo>
                    <a:lnTo>
                      <a:pt x="1" y="137"/>
                    </a:lnTo>
                    <a:lnTo>
                      <a:pt x="0" y="139"/>
                    </a:lnTo>
                    <a:lnTo>
                      <a:pt x="0" y="145"/>
                    </a:lnTo>
                    <a:lnTo>
                      <a:pt x="1" y="147"/>
                    </a:lnTo>
                    <a:lnTo>
                      <a:pt x="3" y="147"/>
                    </a:lnTo>
                    <a:lnTo>
                      <a:pt x="5" y="149"/>
                    </a:lnTo>
                    <a:lnTo>
                      <a:pt x="6" y="149"/>
                    </a:lnTo>
                    <a:lnTo>
                      <a:pt x="8" y="147"/>
                    </a:lnTo>
                    <a:lnTo>
                      <a:pt x="10" y="147"/>
                    </a:lnTo>
                    <a:lnTo>
                      <a:pt x="11" y="145"/>
                    </a:lnTo>
                    <a:lnTo>
                      <a:pt x="18" y="137"/>
                    </a:lnTo>
                    <a:lnTo>
                      <a:pt x="26" y="123"/>
                    </a:lnTo>
                    <a:lnTo>
                      <a:pt x="26" y="121"/>
                    </a:lnTo>
                    <a:lnTo>
                      <a:pt x="31" y="106"/>
                    </a:lnTo>
                    <a:lnTo>
                      <a:pt x="33" y="105"/>
                    </a:lnTo>
                    <a:lnTo>
                      <a:pt x="33" y="103"/>
                    </a:lnTo>
                    <a:lnTo>
                      <a:pt x="31" y="95"/>
                    </a:lnTo>
                    <a:lnTo>
                      <a:pt x="30" y="100"/>
                    </a:lnTo>
                    <a:lnTo>
                      <a:pt x="43" y="79"/>
                    </a:lnTo>
                    <a:lnTo>
                      <a:pt x="43" y="77"/>
                    </a:lnTo>
                    <a:lnTo>
                      <a:pt x="58" y="49"/>
                    </a:lnTo>
                    <a:lnTo>
                      <a:pt x="73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101">
                <a:extLst>
                  <a:ext uri="{FF2B5EF4-FFF2-40B4-BE49-F238E27FC236}">
                    <a16:creationId xmlns:a16="http://schemas.microsoft.com/office/drawing/2014/main" id="{C5EA7673-E0FD-4128-ADB1-2A15D9E78AB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252" y="2810"/>
                <a:ext cx="507" cy="105"/>
              </a:xfrm>
              <a:custGeom>
                <a:avLst/>
                <a:gdLst/>
                <a:ahLst/>
                <a:cxnLst>
                  <a:cxn ang="0">
                    <a:pos x="0" y="76"/>
                  </a:cxn>
                  <a:cxn ang="0">
                    <a:pos x="0" y="83"/>
                  </a:cxn>
                  <a:cxn ang="0">
                    <a:pos x="2" y="84"/>
                  </a:cxn>
                  <a:cxn ang="0">
                    <a:pos x="4" y="84"/>
                  </a:cxn>
                  <a:cxn ang="0">
                    <a:pos x="5" y="86"/>
                  </a:cxn>
                  <a:cxn ang="0">
                    <a:pos x="7" y="86"/>
                  </a:cxn>
                  <a:cxn ang="0">
                    <a:pos x="9" y="84"/>
                  </a:cxn>
                  <a:cxn ang="0">
                    <a:pos x="10" y="84"/>
                  </a:cxn>
                  <a:cxn ang="0">
                    <a:pos x="12" y="83"/>
                  </a:cxn>
                  <a:cxn ang="0">
                    <a:pos x="12" y="81"/>
                  </a:cxn>
                  <a:cxn ang="0">
                    <a:pos x="22" y="62"/>
                  </a:cxn>
                  <a:cxn ang="0">
                    <a:pos x="35" y="34"/>
                  </a:cxn>
                  <a:cxn ang="0">
                    <a:pos x="45" y="11"/>
                  </a:cxn>
                  <a:cxn ang="0">
                    <a:pos x="43" y="14"/>
                  </a:cxn>
                  <a:cxn ang="0">
                    <a:pos x="48" y="11"/>
                  </a:cxn>
                  <a:cxn ang="0">
                    <a:pos x="45" y="13"/>
                  </a:cxn>
                  <a:cxn ang="0">
                    <a:pos x="88" y="13"/>
                  </a:cxn>
                  <a:cxn ang="0">
                    <a:pos x="186" y="14"/>
                  </a:cxn>
                  <a:cxn ang="0">
                    <a:pos x="256" y="16"/>
                  </a:cxn>
                  <a:cxn ang="0">
                    <a:pos x="254" y="16"/>
                  </a:cxn>
                  <a:cxn ang="0">
                    <a:pos x="321" y="21"/>
                  </a:cxn>
                  <a:cxn ang="0">
                    <a:pos x="339" y="24"/>
                  </a:cxn>
                  <a:cxn ang="0">
                    <a:pos x="362" y="27"/>
                  </a:cxn>
                  <a:cxn ang="0">
                    <a:pos x="384" y="32"/>
                  </a:cxn>
                  <a:cxn ang="0">
                    <a:pos x="382" y="31"/>
                  </a:cxn>
                  <a:cxn ang="0">
                    <a:pos x="399" y="39"/>
                  </a:cxn>
                  <a:cxn ang="0">
                    <a:pos x="397" y="37"/>
                  </a:cxn>
                  <a:cxn ang="0">
                    <a:pos x="405" y="47"/>
                  </a:cxn>
                  <a:cxn ang="0">
                    <a:pos x="404" y="44"/>
                  </a:cxn>
                  <a:cxn ang="0">
                    <a:pos x="404" y="75"/>
                  </a:cxn>
                  <a:cxn ang="0">
                    <a:pos x="405" y="75"/>
                  </a:cxn>
                  <a:cxn ang="0">
                    <a:pos x="407" y="76"/>
                  </a:cxn>
                  <a:cxn ang="0">
                    <a:pos x="409" y="76"/>
                  </a:cxn>
                  <a:cxn ang="0">
                    <a:pos x="410" y="78"/>
                  </a:cxn>
                  <a:cxn ang="0">
                    <a:pos x="412" y="76"/>
                  </a:cxn>
                  <a:cxn ang="0">
                    <a:pos x="414" y="76"/>
                  </a:cxn>
                  <a:cxn ang="0">
                    <a:pos x="414" y="75"/>
                  </a:cxn>
                  <a:cxn ang="0">
                    <a:pos x="415" y="75"/>
                  </a:cxn>
                  <a:cxn ang="0">
                    <a:pos x="415" y="73"/>
                  </a:cxn>
                  <a:cxn ang="0">
                    <a:pos x="417" y="71"/>
                  </a:cxn>
                  <a:cxn ang="0">
                    <a:pos x="417" y="44"/>
                  </a:cxn>
                  <a:cxn ang="0">
                    <a:pos x="417" y="42"/>
                  </a:cxn>
                  <a:cxn ang="0">
                    <a:pos x="415" y="40"/>
                  </a:cxn>
                  <a:cxn ang="0">
                    <a:pos x="415" y="39"/>
                  </a:cxn>
                  <a:cxn ang="0">
                    <a:pos x="407" y="29"/>
                  </a:cxn>
                  <a:cxn ang="0">
                    <a:pos x="405" y="29"/>
                  </a:cxn>
                  <a:cxn ang="0">
                    <a:pos x="404" y="27"/>
                  </a:cxn>
                  <a:cxn ang="0">
                    <a:pos x="387" y="19"/>
                  </a:cxn>
                  <a:cxn ang="0">
                    <a:pos x="366" y="14"/>
                  </a:cxn>
                  <a:cxn ang="0">
                    <a:pos x="364" y="14"/>
                  </a:cxn>
                  <a:cxn ang="0">
                    <a:pos x="341" y="11"/>
                  </a:cxn>
                  <a:cxn ang="0">
                    <a:pos x="322" y="8"/>
                  </a:cxn>
                  <a:cxn ang="0">
                    <a:pos x="256" y="3"/>
                  </a:cxn>
                  <a:cxn ang="0">
                    <a:pos x="186" y="1"/>
                  </a:cxn>
                  <a:cxn ang="0">
                    <a:pos x="88" y="0"/>
                  </a:cxn>
                  <a:cxn ang="0">
                    <a:pos x="40" y="0"/>
                  </a:cxn>
                  <a:cxn ang="0">
                    <a:pos x="35" y="3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23" y="29"/>
                  </a:cxn>
                  <a:cxn ang="0">
                    <a:pos x="10" y="57"/>
                  </a:cxn>
                  <a:cxn ang="0">
                    <a:pos x="0" y="76"/>
                  </a:cxn>
                </a:cxnLst>
                <a:rect l="0" t="0" r="r" b="b"/>
                <a:pathLst>
                  <a:path w="417" h="86">
                    <a:moveTo>
                      <a:pt x="0" y="76"/>
                    </a:moveTo>
                    <a:lnTo>
                      <a:pt x="0" y="83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5" y="86"/>
                    </a:lnTo>
                    <a:lnTo>
                      <a:pt x="7" y="86"/>
                    </a:lnTo>
                    <a:lnTo>
                      <a:pt x="9" y="84"/>
                    </a:lnTo>
                    <a:lnTo>
                      <a:pt x="10" y="84"/>
                    </a:lnTo>
                    <a:lnTo>
                      <a:pt x="12" y="83"/>
                    </a:lnTo>
                    <a:lnTo>
                      <a:pt x="12" y="81"/>
                    </a:lnTo>
                    <a:lnTo>
                      <a:pt x="22" y="62"/>
                    </a:lnTo>
                    <a:lnTo>
                      <a:pt x="35" y="34"/>
                    </a:lnTo>
                    <a:lnTo>
                      <a:pt x="45" y="11"/>
                    </a:lnTo>
                    <a:lnTo>
                      <a:pt x="43" y="14"/>
                    </a:lnTo>
                    <a:lnTo>
                      <a:pt x="48" y="11"/>
                    </a:lnTo>
                    <a:lnTo>
                      <a:pt x="45" y="13"/>
                    </a:lnTo>
                    <a:lnTo>
                      <a:pt x="88" y="13"/>
                    </a:lnTo>
                    <a:lnTo>
                      <a:pt x="186" y="14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321" y="21"/>
                    </a:lnTo>
                    <a:lnTo>
                      <a:pt x="339" y="24"/>
                    </a:lnTo>
                    <a:lnTo>
                      <a:pt x="362" y="27"/>
                    </a:lnTo>
                    <a:lnTo>
                      <a:pt x="384" y="32"/>
                    </a:lnTo>
                    <a:lnTo>
                      <a:pt x="382" y="31"/>
                    </a:lnTo>
                    <a:lnTo>
                      <a:pt x="399" y="39"/>
                    </a:lnTo>
                    <a:lnTo>
                      <a:pt x="397" y="37"/>
                    </a:lnTo>
                    <a:lnTo>
                      <a:pt x="405" y="47"/>
                    </a:lnTo>
                    <a:lnTo>
                      <a:pt x="404" y="44"/>
                    </a:lnTo>
                    <a:lnTo>
                      <a:pt x="404" y="75"/>
                    </a:lnTo>
                    <a:lnTo>
                      <a:pt x="405" y="75"/>
                    </a:lnTo>
                    <a:lnTo>
                      <a:pt x="407" y="76"/>
                    </a:lnTo>
                    <a:lnTo>
                      <a:pt x="409" y="76"/>
                    </a:lnTo>
                    <a:lnTo>
                      <a:pt x="410" y="78"/>
                    </a:lnTo>
                    <a:lnTo>
                      <a:pt x="412" y="76"/>
                    </a:lnTo>
                    <a:lnTo>
                      <a:pt x="414" y="76"/>
                    </a:lnTo>
                    <a:lnTo>
                      <a:pt x="414" y="75"/>
                    </a:lnTo>
                    <a:lnTo>
                      <a:pt x="415" y="75"/>
                    </a:lnTo>
                    <a:lnTo>
                      <a:pt x="415" y="73"/>
                    </a:lnTo>
                    <a:lnTo>
                      <a:pt x="417" y="71"/>
                    </a:lnTo>
                    <a:lnTo>
                      <a:pt x="417" y="44"/>
                    </a:lnTo>
                    <a:lnTo>
                      <a:pt x="417" y="42"/>
                    </a:lnTo>
                    <a:lnTo>
                      <a:pt x="415" y="40"/>
                    </a:lnTo>
                    <a:lnTo>
                      <a:pt x="415" y="39"/>
                    </a:lnTo>
                    <a:lnTo>
                      <a:pt x="407" y="29"/>
                    </a:lnTo>
                    <a:lnTo>
                      <a:pt x="405" y="29"/>
                    </a:lnTo>
                    <a:lnTo>
                      <a:pt x="404" y="27"/>
                    </a:lnTo>
                    <a:lnTo>
                      <a:pt x="387" y="19"/>
                    </a:lnTo>
                    <a:lnTo>
                      <a:pt x="366" y="14"/>
                    </a:lnTo>
                    <a:lnTo>
                      <a:pt x="364" y="14"/>
                    </a:lnTo>
                    <a:lnTo>
                      <a:pt x="341" y="11"/>
                    </a:lnTo>
                    <a:lnTo>
                      <a:pt x="322" y="8"/>
                    </a:lnTo>
                    <a:lnTo>
                      <a:pt x="256" y="3"/>
                    </a:lnTo>
                    <a:lnTo>
                      <a:pt x="186" y="1"/>
                    </a:lnTo>
                    <a:lnTo>
                      <a:pt x="88" y="0"/>
                    </a:lnTo>
                    <a:lnTo>
                      <a:pt x="40" y="0"/>
                    </a:lnTo>
                    <a:lnTo>
                      <a:pt x="35" y="3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23" y="29"/>
                    </a:lnTo>
                    <a:lnTo>
                      <a:pt x="10" y="57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Freeform 102">
                <a:extLst>
                  <a:ext uri="{FF2B5EF4-FFF2-40B4-BE49-F238E27FC236}">
                    <a16:creationId xmlns:a16="http://schemas.microsoft.com/office/drawing/2014/main" id="{9937A707-8D31-4CBE-9BA2-622C50F9141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80" y="2966"/>
                <a:ext cx="47" cy="83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8" y="5"/>
                  </a:cxn>
                  <a:cxn ang="0">
                    <a:pos x="37" y="3"/>
                  </a:cxn>
                  <a:cxn ang="0">
                    <a:pos x="37" y="2"/>
                  </a:cxn>
                  <a:cxn ang="0">
                    <a:pos x="35" y="0"/>
                  </a:cxn>
                  <a:cxn ang="0">
                    <a:pos x="27" y="0"/>
                  </a:cxn>
                  <a:cxn ang="0">
                    <a:pos x="25" y="2"/>
                  </a:cxn>
                  <a:cxn ang="0">
                    <a:pos x="25" y="5"/>
                  </a:cxn>
                  <a:cxn ang="0">
                    <a:pos x="23" y="18"/>
                  </a:cxn>
                  <a:cxn ang="0">
                    <a:pos x="23" y="16"/>
                  </a:cxn>
                  <a:cxn ang="0">
                    <a:pos x="0" y="59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3" y="67"/>
                  </a:cxn>
                  <a:cxn ang="0">
                    <a:pos x="5" y="68"/>
                  </a:cxn>
                  <a:cxn ang="0">
                    <a:pos x="7" y="68"/>
                  </a:cxn>
                  <a:cxn ang="0">
                    <a:pos x="8" y="67"/>
                  </a:cxn>
                  <a:cxn ang="0">
                    <a:pos x="10" y="67"/>
                  </a:cxn>
                  <a:cxn ang="0">
                    <a:pos x="12" y="65"/>
                  </a:cxn>
                  <a:cxn ang="0">
                    <a:pos x="35" y="23"/>
                  </a:cxn>
                  <a:cxn ang="0">
                    <a:pos x="35" y="21"/>
                  </a:cxn>
                  <a:cxn ang="0">
                    <a:pos x="37" y="20"/>
                  </a:cxn>
                  <a:cxn ang="0">
                    <a:pos x="38" y="6"/>
                  </a:cxn>
                </a:cxnLst>
                <a:rect l="0" t="0" r="r" b="b"/>
                <a:pathLst>
                  <a:path w="38" h="68">
                    <a:moveTo>
                      <a:pt x="38" y="6"/>
                    </a:moveTo>
                    <a:lnTo>
                      <a:pt x="38" y="5"/>
                    </a:lnTo>
                    <a:lnTo>
                      <a:pt x="37" y="3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27" y="0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0" y="59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3" y="67"/>
                    </a:lnTo>
                    <a:lnTo>
                      <a:pt x="5" y="68"/>
                    </a:lnTo>
                    <a:lnTo>
                      <a:pt x="7" y="68"/>
                    </a:lnTo>
                    <a:lnTo>
                      <a:pt x="8" y="67"/>
                    </a:lnTo>
                    <a:lnTo>
                      <a:pt x="10" y="67"/>
                    </a:lnTo>
                    <a:lnTo>
                      <a:pt x="12" y="65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7" y="20"/>
                    </a:ln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Freeform 103">
                <a:extLst>
                  <a:ext uri="{FF2B5EF4-FFF2-40B4-BE49-F238E27FC236}">
                    <a16:creationId xmlns:a16="http://schemas.microsoft.com/office/drawing/2014/main" id="{0CA9ED84-A092-4CFE-ACE2-11A8AA6EBEB6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479" y="2980"/>
                <a:ext cx="45" cy="86"/>
              </a:xfrm>
              <a:custGeom>
                <a:avLst/>
                <a:gdLst/>
                <a:ahLst/>
                <a:cxnLst>
                  <a:cxn ang="0">
                    <a:pos x="37" y="6"/>
                  </a:cxn>
                  <a:cxn ang="0">
                    <a:pos x="37" y="5"/>
                  </a:cxn>
                  <a:cxn ang="0">
                    <a:pos x="35" y="3"/>
                  </a:cxn>
                  <a:cxn ang="0">
                    <a:pos x="35" y="2"/>
                  </a:cxn>
                  <a:cxn ang="0">
                    <a:pos x="34" y="2"/>
                  </a:cxn>
                  <a:cxn ang="0">
                    <a:pos x="32" y="0"/>
                  </a:cxn>
                  <a:cxn ang="0">
                    <a:pos x="25" y="0"/>
                  </a:cxn>
                  <a:cxn ang="0">
                    <a:pos x="25" y="2"/>
                  </a:cxn>
                  <a:cxn ang="0">
                    <a:pos x="24" y="3"/>
                  </a:cxn>
                  <a:cxn ang="0">
                    <a:pos x="24" y="5"/>
                  </a:cxn>
                  <a:cxn ang="0">
                    <a:pos x="22" y="15"/>
                  </a:cxn>
                  <a:cxn ang="0">
                    <a:pos x="22" y="13"/>
                  </a:cxn>
                  <a:cxn ang="0">
                    <a:pos x="12" y="29"/>
                  </a:cxn>
                  <a:cxn ang="0">
                    <a:pos x="0" y="60"/>
                  </a:cxn>
                  <a:cxn ang="0">
                    <a:pos x="0" y="65"/>
                  </a:cxn>
                  <a:cxn ang="0">
                    <a:pos x="2" y="67"/>
                  </a:cxn>
                  <a:cxn ang="0">
                    <a:pos x="2" y="68"/>
                  </a:cxn>
                  <a:cxn ang="0">
                    <a:pos x="4" y="68"/>
                  </a:cxn>
                  <a:cxn ang="0">
                    <a:pos x="5" y="70"/>
                  </a:cxn>
                  <a:cxn ang="0">
                    <a:pos x="7" y="70"/>
                  </a:cxn>
                  <a:cxn ang="0">
                    <a:pos x="9" y="68"/>
                  </a:cxn>
                  <a:cxn ang="0">
                    <a:pos x="10" y="68"/>
                  </a:cxn>
                  <a:cxn ang="0">
                    <a:pos x="12" y="67"/>
                  </a:cxn>
                  <a:cxn ang="0">
                    <a:pos x="12" y="65"/>
                  </a:cxn>
                  <a:cxn ang="0">
                    <a:pos x="24" y="34"/>
                  </a:cxn>
                  <a:cxn ang="0">
                    <a:pos x="24" y="36"/>
                  </a:cxn>
                  <a:cxn ang="0">
                    <a:pos x="34" y="20"/>
                  </a:cxn>
                  <a:cxn ang="0">
                    <a:pos x="34" y="18"/>
                  </a:cxn>
                  <a:cxn ang="0">
                    <a:pos x="35" y="16"/>
                  </a:cxn>
                  <a:cxn ang="0">
                    <a:pos x="37" y="6"/>
                  </a:cxn>
                </a:cxnLst>
                <a:rect l="0" t="0" r="r" b="b"/>
                <a:pathLst>
                  <a:path w="37" h="70">
                    <a:moveTo>
                      <a:pt x="37" y="6"/>
                    </a:moveTo>
                    <a:lnTo>
                      <a:pt x="37" y="5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3"/>
                    </a:lnTo>
                    <a:lnTo>
                      <a:pt x="24" y="5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12" y="29"/>
                    </a:lnTo>
                    <a:lnTo>
                      <a:pt x="0" y="60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2" y="68"/>
                    </a:lnTo>
                    <a:lnTo>
                      <a:pt x="4" y="68"/>
                    </a:lnTo>
                    <a:lnTo>
                      <a:pt x="5" y="70"/>
                    </a:lnTo>
                    <a:lnTo>
                      <a:pt x="7" y="70"/>
                    </a:lnTo>
                    <a:lnTo>
                      <a:pt x="9" y="68"/>
                    </a:lnTo>
                    <a:lnTo>
                      <a:pt x="10" y="68"/>
                    </a:lnTo>
                    <a:lnTo>
                      <a:pt x="12" y="67"/>
                    </a:lnTo>
                    <a:lnTo>
                      <a:pt x="12" y="65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5" y="16"/>
                    </a:lnTo>
                    <a:lnTo>
                      <a:pt x="3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Freeform 104">
                <a:extLst>
                  <a:ext uri="{FF2B5EF4-FFF2-40B4-BE49-F238E27FC236}">
                    <a16:creationId xmlns:a16="http://schemas.microsoft.com/office/drawing/2014/main" id="{8B6835EF-2C5F-4680-8ED0-24B53D55F12C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929" y="2603"/>
                <a:ext cx="1072" cy="26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4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5" y="18"/>
                  </a:cxn>
                  <a:cxn ang="0">
                    <a:pos x="7" y="19"/>
                  </a:cxn>
                  <a:cxn ang="0">
                    <a:pos x="146" y="19"/>
                  </a:cxn>
                  <a:cxn ang="0">
                    <a:pos x="321" y="21"/>
                  </a:cxn>
                  <a:cxn ang="0">
                    <a:pos x="603" y="21"/>
                  </a:cxn>
                  <a:cxn ang="0">
                    <a:pos x="724" y="16"/>
                  </a:cxn>
                  <a:cxn ang="0">
                    <a:pos x="807" y="16"/>
                  </a:cxn>
                  <a:cxn ang="0">
                    <a:pos x="842" y="13"/>
                  </a:cxn>
                  <a:cxn ang="0">
                    <a:pos x="875" y="13"/>
                  </a:cxn>
                  <a:cxn ang="0">
                    <a:pos x="877" y="11"/>
                  </a:cxn>
                  <a:cxn ang="0">
                    <a:pos x="879" y="11"/>
                  </a:cxn>
                  <a:cxn ang="0">
                    <a:pos x="879" y="10"/>
                  </a:cxn>
                  <a:cxn ang="0">
                    <a:pos x="880" y="10"/>
                  </a:cxn>
                  <a:cxn ang="0">
                    <a:pos x="880" y="8"/>
                  </a:cxn>
                  <a:cxn ang="0">
                    <a:pos x="882" y="6"/>
                  </a:cxn>
                  <a:cxn ang="0">
                    <a:pos x="880" y="5"/>
                  </a:cxn>
                  <a:cxn ang="0">
                    <a:pos x="880" y="3"/>
                  </a:cxn>
                  <a:cxn ang="0">
                    <a:pos x="879" y="1"/>
                  </a:cxn>
                  <a:cxn ang="0">
                    <a:pos x="879" y="0"/>
                  </a:cxn>
                  <a:cxn ang="0">
                    <a:pos x="875" y="0"/>
                  </a:cxn>
                  <a:cxn ang="0">
                    <a:pos x="842" y="0"/>
                  </a:cxn>
                  <a:cxn ang="0">
                    <a:pos x="840" y="0"/>
                  </a:cxn>
                  <a:cxn ang="0">
                    <a:pos x="806" y="3"/>
                  </a:cxn>
                  <a:cxn ang="0">
                    <a:pos x="807" y="3"/>
                  </a:cxn>
                  <a:cxn ang="0">
                    <a:pos x="723" y="3"/>
                  </a:cxn>
                  <a:cxn ang="0">
                    <a:pos x="601" y="8"/>
                  </a:cxn>
                  <a:cxn ang="0">
                    <a:pos x="603" y="8"/>
                  </a:cxn>
                  <a:cxn ang="0">
                    <a:pos x="321" y="8"/>
                  </a:cxn>
                  <a:cxn ang="0">
                    <a:pos x="146" y="6"/>
                  </a:cxn>
                  <a:cxn ang="0">
                    <a:pos x="7" y="6"/>
                  </a:cxn>
                </a:cxnLst>
                <a:rect l="0" t="0" r="r" b="b"/>
                <a:pathLst>
                  <a:path w="882" h="21">
                    <a:moveTo>
                      <a:pt x="7" y="6"/>
                    </a:moveTo>
                    <a:lnTo>
                      <a:pt x="4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146" y="19"/>
                    </a:lnTo>
                    <a:lnTo>
                      <a:pt x="321" y="21"/>
                    </a:lnTo>
                    <a:lnTo>
                      <a:pt x="603" y="21"/>
                    </a:lnTo>
                    <a:lnTo>
                      <a:pt x="724" y="16"/>
                    </a:lnTo>
                    <a:lnTo>
                      <a:pt x="807" y="16"/>
                    </a:lnTo>
                    <a:lnTo>
                      <a:pt x="842" y="13"/>
                    </a:lnTo>
                    <a:lnTo>
                      <a:pt x="875" y="13"/>
                    </a:lnTo>
                    <a:lnTo>
                      <a:pt x="877" y="11"/>
                    </a:lnTo>
                    <a:lnTo>
                      <a:pt x="879" y="11"/>
                    </a:lnTo>
                    <a:lnTo>
                      <a:pt x="879" y="10"/>
                    </a:lnTo>
                    <a:lnTo>
                      <a:pt x="880" y="10"/>
                    </a:lnTo>
                    <a:lnTo>
                      <a:pt x="880" y="8"/>
                    </a:lnTo>
                    <a:lnTo>
                      <a:pt x="882" y="6"/>
                    </a:lnTo>
                    <a:lnTo>
                      <a:pt x="880" y="5"/>
                    </a:lnTo>
                    <a:lnTo>
                      <a:pt x="880" y="3"/>
                    </a:lnTo>
                    <a:lnTo>
                      <a:pt x="879" y="1"/>
                    </a:lnTo>
                    <a:lnTo>
                      <a:pt x="879" y="0"/>
                    </a:lnTo>
                    <a:lnTo>
                      <a:pt x="875" y="0"/>
                    </a:lnTo>
                    <a:lnTo>
                      <a:pt x="842" y="0"/>
                    </a:lnTo>
                    <a:lnTo>
                      <a:pt x="840" y="0"/>
                    </a:lnTo>
                    <a:lnTo>
                      <a:pt x="806" y="3"/>
                    </a:lnTo>
                    <a:lnTo>
                      <a:pt x="807" y="3"/>
                    </a:lnTo>
                    <a:lnTo>
                      <a:pt x="723" y="3"/>
                    </a:lnTo>
                    <a:lnTo>
                      <a:pt x="601" y="8"/>
                    </a:lnTo>
                    <a:lnTo>
                      <a:pt x="603" y="8"/>
                    </a:lnTo>
                    <a:lnTo>
                      <a:pt x="321" y="8"/>
                    </a:lnTo>
                    <a:lnTo>
                      <a:pt x="146" y="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9" name="Freeform 105">
                <a:extLst>
                  <a:ext uri="{FF2B5EF4-FFF2-40B4-BE49-F238E27FC236}">
                    <a16:creationId xmlns:a16="http://schemas.microsoft.com/office/drawing/2014/main" id="{352860FF-AA66-4FFC-8188-7771371C7B2E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3886" y="2465"/>
                <a:ext cx="1201" cy="182"/>
              </a:xfrm>
              <a:custGeom>
                <a:avLst/>
                <a:gdLst/>
                <a:ahLst/>
                <a:cxnLst>
                  <a:cxn ang="0">
                    <a:pos x="0" y="77"/>
                  </a:cxn>
                  <a:cxn ang="0">
                    <a:pos x="2" y="85"/>
                  </a:cxn>
                  <a:cxn ang="0">
                    <a:pos x="5" y="87"/>
                  </a:cxn>
                  <a:cxn ang="0">
                    <a:pos x="9" y="85"/>
                  </a:cxn>
                  <a:cxn ang="0">
                    <a:pos x="120" y="54"/>
                  </a:cxn>
                  <a:cxn ang="0">
                    <a:pos x="193" y="41"/>
                  </a:cxn>
                  <a:cxn ang="0">
                    <a:pos x="317" y="21"/>
                  </a:cxn>
                  <a:cxn ang="0">
                    <a:pos x="475" y="13"/>
                  </a:cxn>
                  <a:cxn ang="0">
                    <a:pos x="646" y="13"/>
                  </a:cxn>
                  <a:cxn ang="0">
                    <a:pos x="794" y="21"/>
                  </a:cxn>
                  <a:cxn ang="0">
                    <a:pos x="923" y="36"/>
                  </a:cxn>
                  <a:cxn ang="0">
                    <a:pos x="955" y="43"/>
                  </a:cxn>
                  <a:cxn ang="0">
                    <a:pos x="967" y="54"/>
                  </a:cxn>
                  <a:cxn ang="0">
                    <a:pos x="977" y="62"/>
                  </a:cxn>
                  <a:cxn ang="0">
                    <a:pos x="972" y="83"/>
                  </a:cxn>
                  <a:cxn ang="0">
                    <a:pos x="972" y="116"/>
                  </a:cxn>
                  <a:cxn ang="0">
                    <a:pos x="967" y="127"/>
                  </a:cxn>
                  <a:cxn ang="0">
                    <a:pos x="950" y="139"/>
                  </a:cxn>
                  <a:cxn ang="0">
                    <a:pos x="952" y="147"/>
                  </a:cxn>
                  <a:cxn ang="0">
                    <a:pos x="955" y="149"/>
                  </a:cxn>
                  <a:cxn ang="0">
                    <a:pos x="958" y="147"/>
                  </a:cxn>
                  <a:cxn ang="0">
                    <a:pos x="973" y="139"/>
                  </a:cxn>
                  <a:cxn ang="0">
                    <a:pos x="983" y="123"/>
                  </a:cxn>
                  <a:cxn ang="0">
                    <a:pos x="985" y="119"/>
                  </a:cxn>
                  <a:cxn ang="0">
                    <a:pos x="988" y="59"/>
                  </a:cxn>
                  <a:cxn ang="0">
                    <a:pos x="987" y="56"/>
                  </a:cxn>
                  <a:cxn ang="0">
                    <a:pos x="975" y="43"/>
                  </a:cxn>
                  <a:cxn ang="0">
                    <a:pos x="958" y="31"/>
                  </a:cxn>
                  <a:cxn ang="0">
                    <a:pos x="925" y="23"/>
                  </a:cxn>
                  <a:cxn ang="0">
                    <a:pos x="796" y="8"/>
                  </a:cxn>
                  <a:cxn ang="0">
                    <a:pos x="648" y="0"/>
                  </a:cxn>
                  <a:cxn ang="0">
                    <a:pos x="382" y="3"/>
                  </a:cxn>
                  <a:cxn ang="0">
                    <a:pos x="254" y="17"/>
                  </a:cxn>
                  <a:cxn ang="0">
                    <a:pos x="116" y="43"/>
                  </a:cxn>
                  <a:cxn ang="0">
                    <a:pos x="48" y="61"/>
                  </a:cxn>
                </a:cxnLst>
                <a:rect l="0" t="0" r="r" b="b"/>
                <a:pathLst>
                  <a:path w="988" h="149">
                    <a:moveTo>
                      <a:pt x="4" y="74"/>
                    </a:moveTo>
                    <a:lnTo>
                      <a:pt x="0" y="77"/>
                    </a:lnTo>
                    <a:lnTo>
                      <a:pt x="0" y="83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9" y="85"/>
                    </a:lnTo>
                    <a:lnTo>
                      <a:pt x="53" y="72"/>
                    </a:lnTo>
                    <a:lnTo>
                      <a:pt x="120" y="54"/>
                    </a:lnTo>
                    <a:lnTo>
                      <a:pt x="118" y="56"/>
                    </a:lnTo>
                    <a:lnTo>
                      <a:pt x="193" y="41"/>
                    </a:lnTo>
                    <a:lnTo>
                      <a:pt x="256" y="30"/>
                    </a:lnTo>
                    <a:lnTo>
                      <a:pt x="317" y="21"/>
                    </a:lnTo>
                    <a:lnTo>
                      <a:pt x="384" y="17"/>
                    </a:lnTo>
                    <a:lnTo>
                      <a:pt x="475" y="13"/>
                    </a:lnTo>
                    <a:lnTo>
                      <a:pt x="648" y="13"/>
                    </a:lnTo>
                    <a:lnTo>
                      <a:pt x="646" y="13"/>
                    </a:lnTo>
                    <a:lnTo>
                      <a:pt x="719" y="17"/>
                    </a:lnTo>
                    <a:lnTo>
                      <a:pt x="794" y="21"/>
                    </a:lnTo>
                    <a:lnTo>
                      <a:pt x="872" y="26"/>
                    </a:lnTo>
                    <a:lnTo>
                      <a:pt x="923" y="36"/>
                    </a:lnTo>
                    <a:lnTo>
                      <a:pt x="923" y="34"/>
                    </a:lnTo>
                    <a:lnTo>
                      <a:pt x="955" y="43"/>
                    </a:lnTo>
                    <a:lnTo>
                      <a:pt x="952" y="43"/>
                    </a:lnTo>
                    <a:lnTo>
                      <a:pt x="967" y="54"/>
                    </a:lnTo>
                    <a:lnTo>
                      <a:pt x="967" y="52"/>
                    </a:lnTo>
                    <a:lnTo>
                      <a:pt x="977" y="62"/>
                    </a:lnTo>
                    <a:lnTo>
                      <a:pt x="975" y="57"/>
                    </a:lnTo>
                    <a:lnTo>
                      <a:pt x="972" y="83"/>
                    </a:lnTo>
                    <a:lnTo>
                      <a:pt x="972" y="119"/>
                    </a:lnTo>
                    <a:lnTo>
                      <a:pt x="972" y="116"/>
                    </a:lnTo>
                    <a:lnTo>
                      <a:pt x="963" y="131"/>
                    </a:lnTo>
                    <a:lnTo>
                      <a:pt x="967" y="127"/>
                    </a:lnTo>
                    <a:lnTo>
                      <a:pt x="953" y="136"/>
                    </a:lnTo>
                    <a:lnTo>
                      <a:pt x="950" y="139"/>
                    </a:lnTo>
                    <a:lnTo>
                      <a:pt x="950" y="145"/>
                    </a:lnTo>
                    <a:lnTo>
                      <a:pt x="952" y="147"/>
                    </a:lnTo>
                    <a:lnTo>
                      <a:pt x="953" y="147"/>
                    </a:lnTo>
                    <a:lnTo>
                      <a:pt x="955" y="149"/>
                    </a:lnTo>
                    <a:lnTo>
                      <a:pt x="957" y="149"/>
                    </a:lnTo>
                    <a:lnTo>
                      <a:pt x="958" y="147"/>
                    </a:lnTo>
                    <a:lnTo>
                      <a:pt x="960" y="147"/>
                    </a:lnTo>
                    <a:lnTo>
                      <a:pt x="973" y="139"/>
                    </a:lnTo>
                    <a:lnTo>
                      <a:pt x="975" y="137"/>
                    </a:lnTo>
                    <a:lnTo>
                      <a:pt x="983" y="123"/>
                    </a:lnTo>
                    <a:lnTo>
                      <a:pt x="983" y="121"/>
                    </a:lnTo>
                    <a:lnTo>
                      <a:pt x="985" y="119"/>
                    </a:lnTo>
                    <a:lnTo>
                      <a:pt x="985" y="85"/>
                    </a:lnTo>
                    <a:lnTo>
                      <a:pt x="988" y="59"/>
                    </a:lnTo>
                    <a:lnTo>
                      <a:pt x="987" y="57"/>
                    </a:lnTo>
                    <a:lnTo>
                      <a:pt x="987" y="56"/>
                    </a:lnTo>
                    <a:lnTo>
                      <a:pt x="975" y="44"/>
                    </a:lnTo>
                    <a:lnTo>
                      <a:pt x="975" y="43"/>
                    </a:lnTo>
                    <a:lnTo>
                      <a:pt x="960" y="31"/>
                    </a:lnTo>
                    <a:lnTo>
                      <a:pt x="958" y="31"/>
                    </a:lnTo>
                    <a:lnTo>
                      <a:pt x="927" y="23"/>
                    </a:lnTo>
                    <a:lnTo>
                      <a:pt x="925" y="23"/>
                    </a:lnTo>
                    <a:lnTo>
                      <a:pt x="874" y="13"/>
                    </a:lnTo>
                    <a:lnTo>
                      <a:pt x="796" y="8"/>
                    </a:lnTo>
                    <a:lnTo>
                      <a:pt x="721" y="3"/>
                    </a:lnTo>
                    <a:lnTo>
                      <a:pt x="648" y="0"/>
                    </a:lnTo>
                    <a:lnTo>
                      <a:pt x="473" y="0"/>
                    </a:lnTo>
                    <a:lnTo>
                      <a:pt x="382" y="3"/>
                    </a:lnTo>
                    <a:lnTo>
                      <a:pt x="316" y="8"/>
                    </a:lnTo>
                    <a:lnTo>
                      <a:pt x="254" y="17"/>
                    </a:lnTo>
                    <a:lnTo>
                      <a:pt x="191" y="28"/>
                    </a:lnTo>
                    <a:lnTo>
                      <a:pt x="116" y="43"/>
                    </a:lnTo>
                    <a:lnTo>
                      <a:pt x="50" y="61"/>
                    </a:lnTo>
                    <a:lnTo>
                      <a:pt x="48" y="61"/>
                    </a:lnTo>
                    <a:lnTo>
                      <a:pt x="4" y="7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2" name="Group 106">
              <a:extLst>
                <a:ext uri="{FF2B5EF4-FFF2-40B4-BE49-F238E27FC236}">
                  <a16:creationId xmlns:a16="http://schemas.microsoft.com/office/drawing/2014/main" id="{8795AEBF-9565-454A-A4FA-AA7272058D2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86" y="1990"/>
              <a:ext cx="1994" cy="1130"/>
              <a:chOff x="2221" y="1990"/>
              <a:chExt cx="1994" cy="1130"/>
            </a:xfrm>
          </p:grpSpPr>
          <p:grpSp>
            <p:nvGrpSpPr>
              <p:cNvPr id="14" name="Group 107">
                <a:extLst>
                  <a:ext uri="{FF2B5EF4-FFF2-40B4-BE49-F238E27FC236}">
                    <a16:creationId xmlns:a16="http://schemas.microsoft.com/office/drawing/2014/main" id="{BAE98A39-A3D4-47E9-9538-1727BFEE32A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221" y="1990"/>
                <a:ext cx="1952" cy="1130"/>
                <a:chOff x="2221" y="1854"/>
                <a:chExt cx="1952" cy="1130"/>
              </a:xfrm>
            </p:grpSpPr>
            <p:sp>
              <p:nvSpPr>
                <p:cNvPr id="21" name="Rectangle 108">
                  <a:extLst>
                    <a:ext uri="{FF2B5EF4-FFF2-40B4-BE49-F238E27FC236}">
                      <a16:creationId xmlns:a16="http://schemas.microsoft.com/office/drawing/2014/main" id="{E3B7A311-A367-4923-AE94-B64114111B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657" y="1566"/>
                  <a:ext cx="843" cy="1707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" name="Freeform 109">
                  <a:extLst>
                    <a:ext uri="{FF2B5EF4-FFF2-40B4-BE49-F238E27FC236}">
                      <a16:creationId xmlns:a16="http://schemas.microsoft.com/office/drawing/2014/main" id="{5E86FFFE-B73A-4B4A-AF7C-B2BA315CA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653" y="1562"/>
                  <a:ext cx="852" cy="1715"/>
                </a:xfrm>
                <a:custGeom>
                  <a:avLst/>
                  <a:gdLst/>
                  <a:ahLst/>
                  <a:cxnLst>
                    <a:cxn ang="0">
                      <a:pos x="701" y="3"/>
                    </a:cxn>
                    <a:cxn ang="0">
                      <a:pos x="701" y="1"/>
                    </a:cxn>
                    <a:cxn ang="0">
                      <a:pos x="699" y="1"/>
                    </a:cxn>
                    <a:cxn ang="0">
                      <a:pos x="699" y="0"/>
                    </a:cxn>
                    <a:cxn ang="0">
                      <a:pos x="0" y="0"/>
                    </a:cxn>
                    <a:cxn ang="0">
                      <a:pos x="0" y="1402"/>
                    </a:cxn>
                    <a:cxn ang="0">
                      <a:pos x="1" y="1402"/>
                    </a:cxn>
                    <a:cxn ang="0">
                      <a:pos x="1" y="1404"/>
                    </a:cxn>
                    <a:cxn ang="0">
                      <a:pos x="697" y="1404"/>
                    </a:cxn>
                    <a:cxn ang="0">
                      <a:pos x="701" y="1401"/>
                    </a:cxn>
                    <a:cxn ang="0">
                      <a:pos x="701" y="3"/>
                    </a:cxn>
                    <a:cxn ang="0">
                      <a:pos x="694" y="3"/>
                    </a:cxn>
                    <a:cxn ang="0">
                      <a:pos x="694" y="1401"/>
                    </a:cxn>
                    <a:cxn ang="0">
                      <a:pos x="697" y="1398"/>
                    </a:cxn>
                    <a:cxn ang="0">
                      <a:pos x="3" y="1398"/>
                    </a:cxn>
                    <a:cxn ang="0">
                      <a:pos x="6" y="1401"/>
                    </a:cxn>
                    <a:cxn ang="0">
                      <a:pos x="6" y="3"/>
                    </a:cxn>
                    <a:cxn ang="0">
                      <a:pos x="3" y="6"/>
                    </a:cxn>
                    <a:cxn ang="0">
                      <a:pos x="697" y="6"/>
                    </a:cxn>
                    <a:cxn ang="0">
                      <a:pos x="694" y="3"/>
                    </a:cxn>
                    <a:cxn ang="0">
                      <a:pos x="701" y="3"/>
                    </a:cxn>
                  </a:cxnLst>
                  <a:rect l="0" t="0" r="r" b="b"/>
                  <a:pathLst>
                    <a:path w="701" h="1404">
                      <a:moveTo>
                        <a:pt x="701" y="3"/>
                      </a:moveTo>
                      <a:lnTo>
                        <a:pt x="701" y="1"/>
                      </a:lnTo>
                      <a:lnTo>
                        <a:pt x="699" y="1"/>
                      </a:lnTo>
                      <a:lnTo>
                        <a:pt x="699" y="0"/>
                      </a:lnTo>
                      <a:lnTo>
                        <a:pt x="0" y="0"/>
                      </a:lnTo>
                      <a:lnTo>
                        <a:pt x="0" y="1402"/>
                      </a:lnTo>
                      <a:lnTo>
                        <a:pt x="1" y="1402"/>
                      </a:lnTo>
                      <a:lnTo>
                        <a:pt x="1" y="1404"/>
                      </a:lnTo>
                      <a:lnTo>
                        <a:pt x="697" y="1404"/>
                      </a:lnTo>
                      <a:lnTo>
                        <a:pt x="701" y="1401"/>
                      </a:lnTo>
                      <a:lnTo>
                        <a:pt x="701" y="3"/>
                      </a:lnTo>
                      <a:lnTo>
                        <a:pt x="694" y="3"/>
                      </a:lnTo>
                      <a:lnTo>
                        <a:pt x="694" y="1401"/>
                      </a:lnTo>
                      <a:lnTo>
                        <a:pt x="697" y="1398"/>
                      </a:lnTo>
                      <a:lnTo>
                        <a:pt x="3" y="1398"/>
                      </a:lnTo>
                      <a:lnTo>
                        <a:pt x="6" y="1401"/>
                      </a:lnTo>
                      <a:lnTo>
                        <a:pt x="6" y="3"/>
                      </a:lnTo>
                      <a:lnTo>
                        <a:pt x="3" y="6"/>
                      </a:lnTo>
                      <a:lnTo>
                        <a:pt x="697" y="6"/>
                      </a:lnTo>
                      <a:lnTo>
                        <a:pt x="694" y="3"/>
                      </a:lnTo>
                      <a:lnTo>
                        <a:pt x="701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" name="Rectangle 110">
                  <a:extLst>
                    <a:ext uri="{FF2B5EF4-FFF2-40B4-BE49-F238E27FC236}">
                      <a16:creationId xmlns:a16="http://schemas.microsoft.com/office/drawing/2014/main" id="{EF971C3A-89BB-4E01-B3F2-2315E491BD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978" y="2651"/>
                  <a:ext cx="281" cy="100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Freeform 111">
                  <a:extLst>
                    <a:ext uri="{FF2B5EF4-FFF2-40B4-BE49-F238E27FC236}">
                      <a16:creationId xmlns:a16="http://schemas.microsoft.com/office/drawing/2014/main" id="{C425D76A-AA34-4BA4-B505-CFA600277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974" y="2648"/>
                  <a:ext cx="289" cy="108"/>
                </a:xfrm>
                <a:custGeom>
                  <a:avLst/>
                  <a:gdLst/>
                  <a:ahLst/>
                  <a:cxnLst>
                    <a:cxn ang="0">
                      <a:pos x="238" y="3"/>
                    </a:cxn>
                    <a:cxn ang="0">
                      <a:pos x="238" y="1"/>
                    </a:cxn>
                    <a:cxn ang="0">
                      <a:pos x="236" y="1"/>
                    </a:cxn>
                    <a:cxn ang="0">
                      <a:pos x="236" y="0"/>
                    </a:cxn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2" y="86"/>
                    </a:cxn>
                    <a:cxn ang="0">
                      <a:pos x="2" y="88"/>
                    </a:cxn>
                    <a:cxn ang="0">
                      <a:pos x="234" y="88"/>
                    </a:cxn>
                    <a:cxn ang="0">
                      <a:pos x="238" y="85"/>
                    </a:cxn>
                    <a:cxn ang="0">
                      <a:pos x="238" y="3"/>
                    </a:cxn>
                    <a:cxn ang="0">
                      <a:pos x="231" y="3"/>
                    </a:cxn>
                    <a:cxn ang="0">
                      <a:pos x="231" y="85"/>
                    </a:cxn>
                    <a:cxn ang="0">
                      <a:pos x="234" y="81"/>
                    </a:cxn>
                    <a:cxn ang="0">
                      <a:pos x="3" y="81"/>
                    </a:cxn>
                    <a:cxn ang="0">
                      <a:pos x="7" y="85"/>
                    </a:cxn>
                    <a:cxn ang="0">
                      <a:pos x="7" y="3"/>
                    </a:cxn>
                    <a:cxn ang="0">
                      <a:pos x="3" y="6"/>
                    </a:cxn>
                    <a:cxn ang="0">
                      <a:pos x="234" y="6"/>
                    </a:cxn>
                    <a:cxn ang="0">
                      <a:pos x="231" y="3"/>
                    </a:cxn>
                    <a:cxn ang="0">
                      <a:pos x="238" y="3"/>
                    </a:cxn>
                  </a:cxnLst>
                  <a:rect l="0" t="0" r="r" b="b"/>
                  <a:pathLst>
                    <a:path w="238" h="88">
                      <a:moveTo>
                        <a:pt x="238" y="3"/>
                      </a:moveTo>
                      <a:lnTo>
                        <a:pt x="238" y="1"/>
                      </a:lnTo>
                      <a:lnTo>
                        <a:pt x="236" y="1"/>
                      </a:lnTo>
                      <a:lnTo>
                        <a:pt x="236" y="0"/>
                      </a:lnTo>
                      <a:lnTo>
                        <a:pt x="0" y="0"/>
                      </a:lnTo>
                      <a:lnTo>
                        <a:pt x="0" y="86"/>
                      </a:lnTo>
                      <a:lnTo>
                        <a:pt x="2" y="86"/>
                      </a:lnTo>
                      <a:lnTo>
                        <a:pt x="2" y="88"/>
                      </a:lnTo>
                      <a:lnTo>
                        <a:pt x="234" y="88"/>
                      </a:lnTo>
                      <a:lnTo>
                        <a:pt x="238" y="85"/>
                      </a:lnTo>
                      <a:lnTo>
                        <a:pt x="238" y="3"/>
                      </a:lnTo>
                      <a:lnTo>
                        <a:pt x="231" y="3"/>
                      </a:lnTo>
                      <a:lnTo>
                        <a:pt x="231" y="85"/>
                      </a:lnTo>
                      <a:lnTo>
                        <a:pt x="234" y="81"/>
                      </a:lnTo>
                      <a:lnTo>
                        <a:pt x="3" y="81"/>
                      </a:lnTo>
                      <a:lnTo>
                        <a:pt x="7" y="85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234" y="6"/>
                      </a:lnTo>
                      <a:lnTo>
                        <a:pt x="231" y="3"/>
                      </a:lnTo>
                      <a:lnTo>
                        <a:pt x="238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5" name="Rectangle 112">
                  <a:extLst>
                    <a:ext uri="{FF2B5EF4-FFF2-40B4-BE49-F238E27FC236}">
                      <a16:creationId xmlns:a16="http://schemas.microsoft.com/office/drawing/2014/main" id="{DC2BF98B-C460-43CE-BD1A-83E14A4DB5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978" y="2369"/>
                  <a:ext cx="282" cy="100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6" name="Freeform 113">
                  <a:extLst>
                    <a:ext uri="{FF2B5EF4-FFF2-40B4-BE49-F238E27FC236}">
                      <a16:creationId xmlns:a16="http://schemas.microsoft.com/office/drawing/2014/main" id="{63D7469A-EEAB-4C32-B620-88BA60267F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974" y="2366"/>
                  <a:ext cx="290" cy="108"/>
                </a:xfrm>
                <a:custGeom>
                  <a:avLst/>
                  <a:gdLst/>
                  <a:ahLst/>
                  <a:cxnLst>
                    <a:cxn ang="0">
                      <a:pos x="239" y="3"/>
                    </a:cxn>
                    <a:cxn ang="0">
                      <a:pos x="239" y="1"/>
                    </a:cxn>
                    <a:cxn ang="0">
                      <a:pos x="237" y="1"/>
                    </a:cxn>
                    <a:cxn ang="0">
                      <a:pos x="237" y="0"/>
                    </a:cxn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1" y="86"/>
                    </a:cxn>
                    <a:cxn ang="0">
                      <a:pos x="1" y="88"/>
                    </a:cxn>
                    <a:cxn ang="0">
                      <a:pos x="235" y="88"/>
                    </a:cxn>
                    <a:cxn ang="0">
                      <a:pos x="239" y="85"/>
                    </a:cxn>
                    <a:cxn ang="0">
                      <a:pos x="239" y="3"/>
                    </a:cxn>
                    <a:cxn ang="0">
                      <a:pos x="232" y="3"/>
                    </a:cxn>
                    <a:cxn ang="0">
                      <a:pos x="232" y="85"/>
                    </a:cxn>
                    <a:cxn ang="0">
                      <a:pos x="235" y="81"/>
                    </a:cxn>
                    <a:cxn ang="0">
                      <a:pos x="3" y="81"/>
                    </a:cxn>
                    <a:cxn ang="0">
                      <a:pos x="6" y="85"/>
                    </a:cxn>
                    <a:cxn ang="0">
                      <a:pos x="6" y="3"/>
                    </a:cxn>
                    <a:cxn ang="0">
                      <a:pos x="3" y="6"/>
                    </a:cxn>
                    <a:cxn ang="0">
                      <a:pos x="235" y="6"/>
                    </a:cxn>
                    <a:cxn ang="0">
                      <a:pos x="232" y="3"/>
                    </a:cxn>
                    <a:cxn ang="0">
                      <a:pos x="239" y="3"/>
                    </a:cxn>
                  </a:cxnLst>
                  <a:rect l="0" t="0" r="r" b="b"/>
                  <a:pathLst>
                    <a:path w="239" h="88">
                      <a:moveTo>
                        <a:pt x="239" y="3"/>
                      </a:moveTo>
                      <a:lnTo>
                        <a:pt x="239" y="1"/>
                      </a:lnTo>
                      <a:lnTo>
                        <a:pt x="237" y="1"/>
                      </a:lnTo>
                      <a:lnTo>
                        <a:pt x="237" y="0"/>
                      </a:lnTo>
                      <a:lnTo>
                        <a:pt x="0" y="0"/>
                      </a:lnTo>
                      <a:lnTo>
                        <a:pt x="0" y="86"/>
                      </a:lnTo>
                      <a:lnTo>
                        <a:pt x="1" y="86"/>
                      </a:lnTo>
                      <a:lnTo>
                        <a:pt x="1" y="88"/>
                      </a:lnTo>
                      <a:lnTo>
                        <a:pt x="235" y="88"/>
                      </a:lnTo>
                      <a:lnTo>
                        <a:pt x="239" y="85"/>
                      </a:lnTo>
                      <a:lnTo>
                        <a:pt x="239" y="3"/>
                      </a:lnTo>
                      <a:lnTo>
                        <a:pt x="232" y="3"/>
                      </a:lnTo>
                      <a:lnTo>
                        <a:pt x="232" y="85"/>
                      </a:lnTo>
                      <a:lnTo>
                        <a:pt x="235" y="81"/>
                      </a:lnTo>
                      <a:lnTo>
                        <a:pt x="3" y="81"/>
                      </a:lnTo>
                      <a:lnTo>
                        <a:pt x="6" y="85"/>
                      </a:lnTo>
                      <a:lnTo>
                        <a:pt x="6" y="3"/>
                      </a:lnTo>
                      <a:lnTo>
                        <a:pt x="3" y="6"/>
                      </a:lnTo>
                      <a:lnTo>
                        <a:pt x="235" y="6"/>
                      </a:lnTo>
                      <a:lnTo>
                        <a:pt x="232" y="3"/>
                      </a:lnTo>
                      <a:lnTo>
                        <a:pt x="239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" name="Rectangle 114">
                  <a:extLst>
                    <a:ext uri="{FF2B5EF4-FFF2-40B4-BE49-F238E27FC236}">
                      <a16:creationId xmlns:a16="http://schemas.microsoft.com/office/drawing/2014/main" id="{28880AD5-99E4-4A37-ACE8-A6B01DDDFC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977" y="2087"/>
                  <a:ext cx="283" cy="100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" name="Freeform 115">
                  <a:extLst>
                    <a:ext uri="{FF2B5EF4-FFF2-40B4-BE49-F238E27FC236}">
                      <a16:creationId xmlns:a16="http://schemas.microsoft.com/office/drawing/2014/main" id="{B5C3C6A7-DAAE-4B59-A68B-894AB353E4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974" y="2083"/>
                  <a:ext cx="290" cy="108"/>
                </a:xfrm>
                <a:custGeom>
                  <a:avLst/>
                  <a:gdLst/>
                  <a:ahLst/>
                  <a:cxnLst>
                    <a:cxn ang="0">
                      <a:pos x="239" y="3"/>
                    </a:cxn>
                    <a:cxn ang="0">
                      <a:pos x="239" y="1"/>
                    </a:cxn>
                    <a:cxn ang="0">
                      <a:pos x="238" y="1"/>
                    </a:cxn>
                    <a:cxn ang="0">
                      <a:pos x="238" y="0"/>
                    </a:cxn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2" y="86"/>
                    </a:cxn>
                    <a:cxn ang="0">
                      <a:pos x="2" y="88"/>
                    </a:cxn>
                    <a:cxn ang="0">
                      <a:pos x="236" y="88"/>
                    </a:cxn>
                    <a:cxn ang="0">
                      <a:pos x="239" y="85"/>
                    </a:cxn>
                    <a:cxn ang="0">
                      <a:pos x="239" y="3"/>
                    </a:cxn>
                    <a:cxn ang="0">
                      <a:pos x="233" y="3"/>
                    </a:cxn>
                    <a:cxn ang="0">
                      <a:pos x="233" y="85"/>
                    </a:cxn>
                    <a:cxn ang="0">
                      <a:pos x="236" y="81"/>
                    </a:cxn>
                    <a:cxn ang="0">
                      <a:pos x="3" y="81"/>
                    </a:cxn>
                    <a:cxn ang="0">
                      <a:pos x="7" y="85"/>
                    </a:cxn>
                    <a:cxn ang="0">
                      <a:pos x="7" y="3"/>
                    </a:cxn>
                    <a:cxn ang="0">
                      <a:pos x="3" y="6"/>
                    </a:cxn>
                    <a:cxn ang="0">
                      <a:pos x="236" y="6"/>
                    </a:cxn>
                    <a:cxn ang="0">
                      <a:pos x="233" y="3"/>
                    </a:cxn>
                    <a:cxn ang="0">
                      <a:pos x="239" y="3"/>
                    </a:cxn>
                  </a:cxnLst>
                  <a:rect l="0" t="0" r="r" b="b"/>
                  <a:pathLst>
                    <a:path w="239" h="88">
                      <a:moveTo>
                        <a:pt x="239" y="3"/>
                      </a:moveTo>
                      <a:lnTo>
                        <a:pt x="239" y="1"/>
                      </a:lnTo>
                      <a:lnTo>
                        <a:pt x="238" y="1"/>
                      </a:lnTo>
                      <a:lnTo>
                        <a:pt x="238" y="0"/>
                      </a:lnTo>
                      <a:lnTo>
                        <a:pt x="0" y="0"/>
                      </a:lnTo>
                      <a:lnTo>
                        <a:pt x="0" y="86"/>
                      </a:lnTo>
                      <a:lnTo>
                        <a:pt x="2" y="86"/>
                      </a:lnTo>
                      <a:lnTo>
                        <a:pt x="2" y="88"/>
                      </a:lnTo>
                      <a:lnTo>
                        <a:pt x="236" y="88"/>
                      </a:lnTo>
                      <a:lnTo>
                        <a:pt x="239" y="85"/>
                      </a:lnTo>
                      <a:lnTo>
                        <a:pt x="239" y="3"/>
                      </a:lnTo>
                      <a:lnTo>
                        <a:pt x="233" y="3"/>
                      </a:lnTo>
                      <a:lnTo>
                        <a:pt x="233" y="85"/>
                      </a:lnTo>
                      <a:lnTo>
                        <a:pt x="236" y="81"/>
                      </a:lnTo>
                      <a:lnTo>
                        <a:pt x="3" y="81"/>
                      </a:lnTo>
                      <a:lnTo>
                        <a:pt x="7" y="85"/>
                      </a:lnTo>
                      <a:lnTo>
                        <a:pt x="7" y="3"/>
                      </a:lnTo>
                      <a:lnTo>
                        <a:pt x="3" y="6"/>
                      </a:lnTo>
                      <a:lnTo>
                        <a:pt x="236" y="6"/>
                      </a:lnTo>
                      <a:lnTo>
                        <a:pt x="233" y="3"/>
                      </a:lnTo>
                      <a:lnTo>
                        <a:pt x="239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" name="Freeform 116">
                  <a:extLst>
                    <a:ext uri="{FF2B5EF4-FFF2-40B4-BE49-F238E27FC236}">
                      <a16:creationId xmlns:a16="http://schemas.microsoft.com/office/drawing/2014/main" id="{C1F310B9-3853-4E71-AC3D-344629737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9" y="2351"/>
                  <a:ext cx="843" cy="137"/>
                </a:xfrm>
                <a:custGeom>
                  <a:avLst/>
                  <a:gdLst/>
                  <a:ahLst/>
                  <a:cxnLst>
                    <a:cxn ang="0">
                      <a:pos x="694" y="110"/>
                    </a:cxn>
                    <a:cxn ang="0">
                      <a:pos x="634" y="1"/>
                    </a:cxn>
                    <a:cxn ang="0">
                      <a:pos x="578" y="112"/>
                    </a:cxn>
                    <a:cxn ang="0">
                      <a:pos x="520" y="0"/>
                    </a:cxn>
                    <a:cxn ang="0">
                      <a:pos x="463" y="112"/>
                    </a:cxn>
                    <a:cxn ang="0">
                      <a:pos x="405" y="0"/>
                    </a:cxn>
                    <a:cxn ang="0">
                      <a:pos x="347" y="110"/>
                    </a:cxn>
                    <a:cxn ang="0">
                      <a:pos x="291" y="0"/>
                    </a:cxn>
                    <a:cxn ang="0">
                      <a:pos x="233" y="112"/>
                    </a:cxn>
                    <a:cxn ang="0">
                      <a:pos x="176" y="0"/>
                    </a:cxn>
                    <a:cxn ang="0">
                      <a:pos x="116" y="112"/>
                    </a:cxn>
                    <a:cxn ang="0">
                      <a:pos x="62" y="0"/>
                    </a:cxn>
                    <a:cxn ang="0">
                      <a:pos x="0" y="112"/>
                    </a:cxn>
                    <a:cxn ang="0">
                      <a:pos x="694" y="110"/>
                    </a:cxn>
                  </a:cxnLst>
                  <a:rect l="0" t="0" r="r" b="b"/>
                  <a:pathLst>
                    <a:path w="694" h="112">
                      <a:moveTo>
                        <a:pt x="694" y="110"/>
                      </a:moveTo>
                      <a:lnTo>
                        <a:pt x="634" y="1"/>
                      </a:lnTo>
                      <a:lnTo>
                        <a:pt x="578" y="112"/>
                      </a:lnTo>
                      <a:lnTo>
                        <a:pt x="520" y="0"/>
                      </a:lnTo>
                      <a:lnTo>
                        <a:pt x="463" y="112"/>
                      </a:lnTo>
                      <a:lnTo>
                        <a:pt x="405" y="0"/>
                      </a:lnTo>
                      <a:lnTo>
                        <a:pt x="347" y="110"/>
                      </a:lnTo>
                      <a:lnTo>
                        <a:pt x="291" y="0"/>
                      </a:lnTo>
                      <a:lnTo>
                        <a:pt x="233" y="112"/>
                      </a:lnTo>
                      <a:lnTo>
                        <a:pt x="176" y="0"/>
                      </a:lnTo>
                      <a:lnTo>
                        <a:pt x="116" y="112"/>
                      </a:lnTo>
                      <a:lnTo>
                        <a:pt x="62" y="0"/>
                      </a:lnTo>
                      <a:lnTo>
                        <a:pt x="0" y="112"/>
                      </a:lnTo>
                      <a:lnTo>
                        <a:pt x="694" y="11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" name="Freeform 117">
                  <a:extLst>
                    <a:ext uri="{FF2B5EF4-FFF2-40B4-BE49-F238E27FC236}">
                      <a16:creationId xmlns:a16="http://schemas.microsoft.com/office/drawing/2014/main" id="{BA3722A0-B07C-4FA7-818C-EB9D79B269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4" y="2347"/>
                  <a:ext cx="852" cy="145"/>
                </a:xfrm>
                <a:custGeom>
                  <a:avLst/>
                  <a:gdLst/>
                  <a:ahLst/>
                  <a:cxnLst>
                    <a:cxn ang="0">
                      <a:pos x="701" y="114"/>
                    </a:cxn>
                    <a:cxn ang="0">
                      <a:pos x="699" y="113"/>
                    </a:cxn>
                    <a:cxn ang="0">
                      <a:pos x="639" y="2"/>
                    </a:cxn>
                    <a:cxn ang="0">
                      <a:pos x="634" y="4"/>
                    </a:cxn>
                    <a:cxn ang="0">
                      <a:pos x="583" y="114"/>
                    </a:cxn>
                    <a:cxn ang="0">
                      <a:pos x="525" y="0"/>
                    </a:cxn>
                    <a:cxn ang="0">
                      <a:pos x="520" y="2"/>
                    </a:cxn>
                    <a:cxn ang="0">
                      <a:pos x="468" y="114"/>
                    </a:cxn>
                    <a:cxn ang="0">
                      <a:pos x="410" y="0"/>
                    </a:cxn>
                    <a:cxn ang="0">
                      <a:pos x="405" y="2"/>
                    </a:cxn>
                    <a:cxn ang="0">
                      <a:pos x="352" y="113"/>
                    </a:cxn>
                    <a:cxn ang="0">
                      <a:pos x="295" y="0"/>
                    </a:cxn>
                    <a:cxn ang="0">
                      <a:pos x="290" y="2"/>
                    </a:cxn>
                    <a:cxn ang="0">
                      <a:pos x="237" y="114"/>
                    </a:cxn>
                    <a:cxn ang="0">
                      <a:pos x="181" y="0"/>
                    </a:cxn>
                    <a:cxn ang="0">
                      <a:pos x="176" y="2"/>
                    </a:cxn>
                    <a:cxn ang="0">
                      <a:pos x="121" y="114"/>
                    </a:cxn>
                    <a:cxn ang="0">
                      <a:pos x="66" y="0"/>
                    </a:cxn>
                    <a:cxn ang="0">
                      <a:pos x="61" y="2"/>
                    </a:cxn>
                    <a:cxn ang="0">
                      <a:pos x="0" y="118"/>
                    </a:cxn>
                    <a:cxn ang="0">
                      <a:pos x="1" y="119"/>
                    </a:cxn>
                    <a:cxn ang="0">
                      <a:pos x="697" y="118"/>
                    </a:cxn>
                    <a:cxn ang="0">
                      <a:pos x="3" y="113"/>
                    </a:cxn>
                    <a:cxn ang="0">
                      <a:pos x="66" y="5"/>
                    </a:cxn>
                    <a:cxn ang="0">
                      <a:pos x="116" y="116"/>
                    </a:cxn>
                    <a:cxn ang="0">
                      <a:pos x="118" y="118"/>
                    </a:cxn>
                    <a:cxn ang="0">
                      <a:pos x="119" y="119"/>
                    </a:cxn>
                    <a:cxn ang="0">
                      <a:pos x="181" y="5"/>
                    </a:cxn>
                    <a:cxn ang="0">
                      <a:pos x="232" y="118"/>
                    </a:cxn>
                    <a:cxn ang="0">
                      <a:pos x="234" y="119"/>
                    </a:cxn>
                    <a:cxn ang="0">
                      <a:pos x="237" y="118"/>
                    </a:cxn>
                    <a:cxn ang="0">
                      <a:pos x="290" y="5"/>
                    </a:cxn>
                    <a:cxn ang="0">
                      <a:pos x="349" y="116"/>
                    </a:cxn>
                    <a:cxn ang="0">
                      <a:pos x="350" y="118"/>
                    </a:cxn>
                    <a:cxn ang="0">
                      <a:pos x="410" y="5"/>
                    </a:cxn>
                    <a:cxn ang="0">
                      <a:pos x="463" y="118"/>
                    </a:cxn>
                    <a:cxn ang="0">
                      <a:pos x="465" y="119"/>
                    </a:cxn>
                    <a:cxn ang="0">
                      <a:pos x="468" y="118"/>
                    </a:cxn>
                    <a:cxn ang="0">
                      <a:pos x="520" y="5"/>
                    </a:cxn>
                    <a:cxn ang="0">
                      <a:pos x="579" y="118"/>
                    </a:cxn>
                    <a:cxn ang="0">
                      <a:pos x="581" y="119"/>
                    </a:cxn>
                    <a:cxn ang="0">
                      <a:pos x="639" y="7"/>
                    </a:cxn>
                    <a:cxn ang="0">
                      <a:pos x="694" y="116"/>
                    </a:cxn>
                    <a:cxn ang="0">
                      <a:pos x="697" y="118"/>
                    </a:cxn>
                  </a:cxnLst>
                  <a:rect l="0" t="0" r="r" b="b"/>
                  <a:pathLst>
                    <a:path w="701" h="119">
                      <a:moveTo>
                        <a:pt x="697" y="118"/>
                      </a:moveTo>
                      <a:lnTo>
                        <a:pt x="701" y="114"/>
                      </a:lnTo>
                      <a:lnTo>
                        <a:pt x="701" y="113"/>
                      </a:lnTo>
                      <a:lnTo>
                        <a:pt x="699" y="113"/>
                      </a:lnTo>
                      <a:lnTo>
                        <a:pt x="639" y="4"/>
                      </a:lnTo>
                      <a:lnTo>
                        <a:pt x="639" y="2"/>
                      </a:lnTo>
                      <a:lnTo>
                        <a:pt x="634" y="2"/>
                      </a:lnTo>
                      <a:lnTo>
                        <a:pt x="634" y="4"/>
                      </a:lnTo>
                      <a:lnTo>
                        <a:pt x="578" y="114"/>
                      </a:lnTo>
                      <a:lnTo>
                        <a:pt x="583" y="114"/>
                      </a:lnTo>
                      <a:lnTo>
                        <a:pt x="525" y="2"/>
                      </a:lnTo>
                      <a:lnTo>
                        <a:pt x="525" y="0"/>
                      </a:lnTo>
                      <a:lnTo>
                        <a:pt x="520" y="0"/>
                      </a:lnTo>
                      <a:lnTo>
                        <a:pt x="520" y="2"/>
                      </a:lnTo>
                      <a:lnTo>
                        <a:pt x="463" y="114"/>
                      </a:lnTo>
                      <a:lnTo>
                        <a:pt x="468" y="114"/>
                      </a:lnTo>
                      <a:lnTo>
                        <a:pt x="410" y="2"/>
                      </a:lnTo>
                      <a:lnTo>
                        <a:pt x="410" y="0"/>
                      </a:lnTo>
                      <a:lnTo>
                        <a:pt x="405" y="0"/>
                      </a:lnTo>
                      <a:lnTo>
                        <a:pt x="405" y="2"/>
                      </a:lnTo>
                      <a:lnTo>
                        <a:pt x="347" y="113"/>
                      </a:lnTo>
                      <a:lnTo>
                        <a:pt x="352" y="113"/>
                      </a:lnTo>
                      <a:lnTo>
                        <a:pt x="295" y="2"/>
                      </a:lnTo>
                      <a:lnTo>
                        <a:pt x="295" y="0"/>
                      </a:lnTo>
                      <a:lnTo>
                        <a:pt x="290" y="0"/>
                      </a:lnTo>
                      <a:lnTo>
                        <a:pt x="290" y="2"/>
                      </a:lnTo>
                      <a:lnTo>
                        <a:pt x="232" y="114"/>
                      </a:lnTo>
                      <a:lnTo>
                        <a:pt x="237" y="114"/>
                      </a:lnTo>
                      <a:lnTo>
                        <a:pt x="181" y="2"/>
                      </a:lnTo>
                      <a:lnTo>
                        <a:pt x="181" y="0"/>
                      </a:lnTo>
                      <a:lnTo>
                        <a:pt x="176" y="0"/>
                      </a:lnTo>
                      <a:lnTo>
                        <a:pt x="176" y="2"/>
                      </a:lnTo>
                      <a:lnTo>
                        <a:pt x="116" y="114"/>
                      </a:lnTo>
                      <a:lnTo>
                        <a:pt x="121" y="114"/>
                      </a:lnTo>
                      <a:lnTo>
                        <a:pt x="66" y="2"/>
                      </a:lnTo>
                      <a:lnTo>
                        <a:pt x="66" y="0"/>
                      </a:lnTo>
                      <a:lnTo>
                        <a:pt x="61" y="0"/>
                      </a:lnTo>
                      <a:lnTo>
                        <a:pt x="61" y="2"/>
                      </a:lnTo>
                      <a:lnTo>
                        <a:pt x="0" y="114"/>
                      </a:lnTo>
                      <a:lnTo>
                        <a:pt x="0" y="118"/>
                      </a:lnTo>
                      <a:lnTo>
                        <a:pt x="1" y="118"/>
                      </a:lnTo>
                      <a:lnTo>
                        <a:pt x="1" y="119"/>
                      </a:lnTo>
                      <a:lnTo>
                        <a:pt x="3" y="119"/>
                      </a:lnTo>
                      <a:lnTo>
                        <a:pt x="697" y="118"/>
                      </a:lnTo>
                      <a:lnTo>
                        <a:pt x="697" y="111"/>
                      </a:lnTo>
                      <a:lnTo>
                        <a:pt x="3" y="113"/>
                      </a:lnTo>
                      <a:lnTo>
                        <a:pt x="5" y="118"/>
                      </a:lnTo>
                      <a:lnTo>
                        <a:pt x="66" y="5"/>
                      </a:lnTo>
                      <a:lnTo>
                        <a:pt x="61" y="4"/>
                      </a:lnTo>
                      <a:lnTo>
                        <a:pt x="116" y="116"/>
                      </a:lnTo>
                      <a:lnTo>
                        <a:pt x="116" y="118"/>
                      </a:lnTo>
                      <a:lnTo>
                        <a:pt x="118" y="118"/>
                      </a:lnTo>
                      <a:lnTo>
                        <a:pt x="118" y="119"/>
                      </a:lnTo>
                      <a:lnTo>
                        <a:pt x="119" y="119"/>
                      </a:lnTo>
                      <a:lnTo>
                        <a:pt x="121" y="118"/>
                      </a:lnTo>
                      <a:lnTo>
                        <a:pt x="181" y="5"/>
                      </a:lnTo>
                      <a:lnTo>
                        <a:pt x="176" y="5"/>
                      </a:lnTo>
                      <a:lnTo>
                        <a:pt x="232" y="118"/>
                      </a:lnTo>
                      <a:lnTo>
                        <a:pt x="234" y="118"/>
                      </a:lnTo>
                      <a:lnTo>
                        <a:pt x="234" y="119"/>
                      </a:lnTo>
                      <a:lnTo>
                        <a:pt x="236" y="119"/>
                      </a:lnTo>
                      <a:lnTo>
                        <a:pt x="237" y="118"/>
                      </a:lnTo>
                      <a:lnTo>
                        <a:pt x="295" y="5"/>
                      </a:lnTo>
                      <a:lnTo>
                        <a:pt x="290" y="5"/>
                      </a:lnTo>
                      <a:lnTo>
                        <a:pt x="347" y="116"/>
                      </a:lnTo>
                      <a:lnTo>
                        <a:pt x="349" y="116"/>
                      </a:lnTo>
                      <a:lnTo>
                        <a:pt x="349" y="118"/>
                      </a:lnTo>
                      <a:lnTo>
                        <a:pt x="350" y="118"/>
                      </a:lnTo>
                      <a:lnTo>
                        <a:pt x="352" y="116"/>
                      </a:lnTo>
                      <a:lnTo>
                        <a:pt x="410" y="5"/>
                      </a:lnTo>
                      <a:lnTo>
                        <a:pt x="405" y="5"/>
                      </a:lnTo>
                      <a:lnTo>
                        <a:pt x="463" y="118"/>
                      </a:lnTo>
                      <a:lnTo>
                        <a:pt x="465" y="118"/>
                      </a:lnTo>
                      <a:lnTo>
                        <a:pt x="465" y="119"/>
                      </a:lnTo>
                      <a:lnTo>
                        <a:pt x="466" y="119"/>
                      </a:lnTo>
                      <a:lnTo>
                        <a:pt x="468" y="118"/>
                      </a:lnTo>
                      <a:lnTo>
                        <a:pt x="525" y="5"/>
                      </a:lnTo>
                      <a:lnTo>
                        <a:pt x="520" y="5"/>
                      </a:lnTo>
                      <a:lnTo>
                        <a:pt x="578" y="118"/>
                      </a:lnTo>
                      <a:lnTo>
                        <a:pt x="579" y="118"/>
                      </a:lnTo>
                      <a:lnTo>
                        <a:pt x="579" y="119"/>
                      </a:lnTo>
                      <a:lnTo>
                        <a:pt x="581" y="119"/>
                      </a:lnTo>
                      <a:lnTo>
                        <a:pt x="583" y="118"/>
                      </a:lnTo>
                      <a:lnTo>
                        <a:pt x="639" y="7"/>
                      </a:lnTo>
                      <a:lnTo>
                        <a:pt x="634" y="7"/>
                      </a:lnTo>
                      <a:lnTo>
                        <a:pt x="694" y="116"/>
                      </a:lnTo>
                      <a:lnTo>
                        <a:pt x="697" y="111"/>
                      </a:lnTo>
                      <a:lnTo>
                        <a:pt x="697" y="118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1" name="Freeform 118">
                  <a:extLst>
                    <a:ext uri="{FF2B5EF4-FFF2-40B4-BE49-F238E27FC236}">
                      <a16:creationId xmlns:a16="http://schemas.microsoft.com/office/drawing/2014/main" id="{D371A4D6-0439-4C53-8151-74AF36F06C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471" y="2418"/>
                  <a:ext cx="848" cy="8"/>
                </a:xfrm>
                <a:custGeom>
                  <a:avLst/>
                  <a:gdLst/>
                  <a:ahLst/>
                  <a:cxnLst>
                    <a:cxn ang="0">
                      <a:pos x="694" y="7"/>
                    </a:cxn>
                    <a:cxn ang="0">
                      <a:pos x="698" y="3"/>
                    </a:cxn>
                    <a:cxn ang="0">
                      <a:pos x="698" y="2"/>
                    </a:cxn>
                    <a:cxn ang="0">
                      <a:pos x="696" y="2"/>
                    </a:cxn>
                    <a:cxn ang="0">
                      <a:pos x="696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7"/>
                    </a:cxn>
                    <a:cxn ang="0">
                      <a:pos x="3" y="7"/>
                    </a:cxn>
                    <a:cxn ang="0">
                      <a:pos x="694" y="7"/>
                    </a:cxn>
                  </a:cxnLst>
                  <a:rect l="0" t="0" r="r" b="b"/>
                  <a:pathLst>
                    <a:path w="698" h="7">
                      <a:moveTo>
                        <a:pt x="694" y="7"/>
                      </a:moveTo>
                      <a:lnTo>
                        <a:pt x="698" y="3"/>
                      </a:lnTo>
                      <a:lnTo>
                        <a:pt x="698" y="2"/>
                      </a:lnTo>
                      <a:lnTo>
                        <a:pt x="696" y="2"/>
                      </a:lnTo>
                      <a:lnTo>
                        <a:pt x="696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694" y="7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2" name="Rectangle 119">
                  <a:extLst>
                    <a:ext uri="{FF2B5EF4-FFF2-40B4-BE49-F238E27FC236}">
                      <a16:creationId xmlns:a16="http://schemas.microsoft.com/office/drawing/2014/main" id="{D442BAEE-B28A-4E22-98D8-1EC5253E1D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688" y="1633"/>
                  <a:ext cx="752" cy="1572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" name="Freeform 120">
                  <a:extLst>
                    <a:ext uri="{FF2B5EF4-FFF2-40B4-BE49-F238E27FC236}">
                      <a16:creationId xmlns:a16="http://schemas.microsoft.com/office/drawing/2014/main" id="{117DF1FD-CF94-4AD8-B959-C7B2DAF4DA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682" y="1627"/>
                  <a:ext cx="760" cy="1582"/>
                </a:xfrm>
                <a:custGeom>
                  <a:avLst/>
                  <a:gdLst/>
                  <a:ahLst/>
                  <a:cxnLst>
                    <a:cxn ang="0">
                      <a:pos x="626" y="3"/>
                    </a:cxn>
                    <a:cxn ang="0">
                      <a:pos x="626" y="1"/>
                    </a:cxn>
                    <a:cxn ang="0">
                      <a:pos x="625" y="1"/>
                    </a:cxn>
                    <a:cxn ang="0">
                      <a:pos x="625" y="0"/>
                    </a:cxn>
                    <a:cxn ang="0">
                      <a:pos x="0" y="0"/>
                    </a:cxn>
                    <a:cxn ang="0">
                      <a:pos x="0" y="1293"/>
                    </a:cxn>
                    <a:cxn ang="0">
                      <a:pos x="2" y="1293"/>
                    </a:cxn>
                    <a:cxn ang="0">
                      <a:pos x="2" y="1295"/>
                    </a:cxn>
                    <a:cxn ang="0">
                      <a:pos x="623" y="1295"/>
                    </a:cxn>
                    <a:cxn ang="0">
                      <a:pos x="626" y="1291"/>
                    </a:cxn>
                    <a:cxn ang="0">
                      <a:pos x="626" y="3"/>
                    </a:cxn>
                    <a:cxn ang="0">
                      <a:pos x="620" y="3"/>
                    </a:cxn>
                    <a:cxn ang="0">
                      <a:pos x="620" y="1291"/>
                    </a:cxn>
                    <a:cxn ang="0">
                      <a:pos x="623" y="1288"/>
                    </a:cxn>
                    <a:cxn ang="0">
                      <a:pos x="4" y="1288"/>
                    </a:cxn>
                    <a:cxn ang="0">
                      <a:pos x="7" y="1291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623" y="6"/>
                    </a:cxn>
                    <a:cxn ang="0">
                      <a:pos x="620" y="3"/>
                    </a:cxn>
                    <a:cxn ang="0">
                      <a:pos x="626" y="3"/>
                    </a:cxn>
                  </a:cxnLst>
                  <a:rect l="0" t="0" r="r" b="b"/>
                  <a:pathLst>
                    <a:path w="626" h="1295">
                      <a:moveTo>
                        <a:pt x="626" y="3"/>
                      </a:moveTo>
                      <a:lnTo>
                        <a:pt x="626" y="1"/>
                      </a:lnTo>
                      <a:lnTo>
                        <a:pt x="625" y="1"/>
                      </a:lnTo>
                      <a:lnTo>
                        <a:pt x="625" y="0"/>
                      </a:lnTo>
                      <a:lnTo>
                        <a:pt x="0" y="0"/>
                      </a:lnTo>
                      <a:lnTo>
                        <a:pt x="0" y="1293"/>
                      </a:lnTo>
                      <a:lnTo>
                        <a:pt x="2" y="1293"/>
                      </a:lnTo>
                      <a:lnTo>
                        <a:pt x="2" y="1295"/>
                      </a:lnTo>
                      <a:lnTo>
                        <a:pt x="623" y="1295"/>
                      </a:lnTo>
                      <a:lnTo>
                        <a:pt x="626" y="1291"/>
                      </a:lnTo>
                      <a:lnTo>
                        <a:pt x="626" y="3"/>
                      </a:lnTo>
                      <a:lnTo>
                        <a:pt x="620" y="3"/>
                      </a:lnTo>
                      <a:lnTo>
                        <a:pt x="620" y="1291"/>
                      </a:lnTo>
                      <a:lnTo>
                        <a:pt x="623" y="1288"/>
                      </a:lnTo>
                      <a:lnTo>
                        <a:pt x="4" y="1288"/>
                      </a:lnTo>
                      <a:lnTo>
                        <a:pt x="7" y="1291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623" y="6"/>
                      </a:lnTo>
                      <a:lnTo>
                        <a:pt x="620" y="3"/>
                      </a:lnTo>
                      <a:lnTo>
                        <a:pt x="626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" name="Rectangle 121">
                  <a:extLst>
                    <a:ext uri="{FF2B5EF4-FFF2-40B4-BE49-F238E27FC236}">
                      <a16:creationId xmlns:a16="http://schemas.microsoft.com/office/drawing/2014/main" id="{85423B00-23EF-46D0-831A-6C084C29DD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578" y="2765"/>
                  <a:ext cx="108" cy="326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5" name="Freeform 122">
                  <a:extLst>
                    <a:ext uri="{FF2B5EF4-FFF2-40B4-BE49-F238E27FC236}">
                      <a16:creationId xmlns:a16="http://schemas.microsoft.com/office/drawing/2014/main" id="{493AA481-E33F-4815-968B-BF514209C2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80" y="2806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30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5" y="3"/>
                    </a:cxn>
                    <a:cxn ang="0">
                      <a:pos x="15" y="5"/>
                    </a:cxn>
                    <a:cxn ang="0">
                      <a:pos x="10" y="5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5" y="195"/>
                    </a:cxn>
                    <a:cxn ang="0">
                      <a:pos x="15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30" y="199"/>
                    </a:cxn>
                    <a:cxn ang="0">
                      <a:pos x="30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70" y="199"/>
                    </a:cxn>
                    <a:cxn ang="0">
                      <a:pos x="70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5"/>
                    </a:cxn>
                    <a:cxn ang="0">
                      <a:pos x="76" y="5"/>
                    </a:cxn>
                    <a:cxn ang="0">
                      <a:pos x="76" y="3"/>
                    </a:cxn>
                    <a:cxn ang="0">
                      <a:pos x="70" y="3"/>
                    </a:cxn>
                    <a:cxn ang="0">
                      <a:pos x="70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89" h="200">
                      <a:moveTo>
                        <a:pt x="30" y="0"/>
                      </a:moveTo>
                      <a:lnTo>
                        <a:pt x="30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5" y="3"/>
                      </a:lnTo>
                      <a:lnTo>
                        <a:pt x="15" y="5"/>
                      </a:lnTo>
                      <a:lnTo>
                        <a:pt x="10" y="5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5" y="195"/>
                      </a:lnTo>
                      <a:lnTo>
                        <a:pt x="15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30" y="199"/>
                      </a:lnTo>
                      <a:lnTo>
                        <a:pt x="30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70" y="199"/>
                      </a:lnTo>
                      <a:lnTo>
                        <a:pt x="70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5"/>
                      </a:lnTo>
                      <a:lnTo>
                        <a:pt x="76" y="5"/>
                      </a:lnTo>
                      <a:lnTo>
                        <a:pt x="76" y="3"/>
                      </a:lnTo>
                      <a:lnTo>
                        <a:pt x="70" y="3"/>
                      </a:lnTo>
                      <a:lnTo>
                        <a:pt x="70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6" name="Freeform 123">
                  <a:extLst>
                    <a:ext uri="{FF2B5EF4-FFF2-40B4-BE49-F238E27FC236}">
                      <a16:creationId xmlns:a16="http://schemas.microsoft.com/office/drawing/2014/main" id="{0B1A272C-7419-4DD2-8A35-5E47F19EC9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7" y="2853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5" y="4"/>
                    </a:cxn>
                    <a:cxn ang="0">
                      <a:pos x="20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20" y="118"/>
                    </a:cxn>
                    <a:cxn ang="0">
                      <a:pos x="25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5" y="2"/>
                      </a:lnTo>
                      <a:lnTo>
                        <a:pt x="25" y="4"/>
                      </a:lnTo>
                      <a:lnTo>
                        <a:pt x="20" y="4"/>
                      </a:lnTo>
                      <a:lnTo>
                        <a:pt x="20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20" y="118"/>
                      </a:lnTo>
                      <a:lnTo>
                        <a:pt x="20" y="119"/>
                      </a:lnTo>
                      <a:lnTo>
                        <a:pt x="25" y="119"/>
                      </a:lnTo>
                      <a:lnTo>
                        <a:pt x="25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7" name="Freeform 124">
                  <a:extLst>
                    <a:ext uri="{FF2B5EF4-FFF2-40B4-BE49-F238E27FC236}">
                      <a16:creationId xmlns:a16="http://schemas.microsoft.com/office/drawing/2014/main" id="{1B9672B3-395C-4389-9983-908136279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09" y="2905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8" y="11"/>
                    </a:cxn>
                    <a:cxn ang="0">
                      <a:pos x="38" y="9"/>
                    </a:cxn>
                    <a:cxn ang="0">
                      <a:pos x="36" y="8"/>
                    </a:cxn>
                    <a:cxn ang="0">
                      <a:pos x="36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3" y="4"/>
                    </a:cxn>
                    <a:cxn ang="0">
                      <a:pos x="33" y="3"/>
                    </a:cxn>
                    <a:cxn ang="0">
                      <a:pos x="31" y="3"/>
                    </a:cxn>
                    <a:cxn ang="0">
                      <a:pos x="30" y="1"/>
                    </a:cxn>
                    <a:cxn ang="0">
                      <a:pos x="28" y="1"/>
                    </a:cxn>
                    <a:cxn ang="0">
                      <a:pos x="26" y="0"/>
                    </a:cxn>
                    <a:cxn ang="0">
                      <a:pos x="13" y="0"/>
                    </a:cxn>
                    <a:cxn ang="0">
                      <a:pos x="11" y="1"/>
                    </a:cxn>
                    <a:cxn ang="0">
                      <a:pos x="10" y="1"/>
                    </a:cxn>
                    <a:cxn ang="0">
                      <a:pos x="8" y="3"/>
                    </a:cxn>
                    <a:cxn ang="0">
                      <a:pos x="6" y="3"/>
                    </a:cxn>
                    <a:cxn ang="0">
                      <a:pos x="6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3" y="6"/>
                    </a:cxn>
                    <a:cxn ang="0">
                      <a:pos x="3" y="8"/>
                    </a:cxn>
                    <a:cxn ang="0">
                      <a:pos x="1" y="9"/>
                    </a:cxn>
                    <a:cxn ang="0">
                      <a:pos x="1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1" y="27"/>
                    </a:cxn>
                    <a:cxn ang="0">
                      <a:pos x="1" y="29"/>
                    </a:cxn>
                    <a:cxn ang="0">
                      <a:pos x="3" y="31"/>
                    </a:cxn>
                    <a:cxn ang="0">
                      <a:pos x="3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6" y="34"/>
                    </a:cxn>
                    <a:cxn ang="0">
                      <a:pos x="6" y="35"/>
                    </a:cxn>
                    <a:cxn ang="0">
                      <a:pos x="8" y="35"/>
                    </a:cxn>
                    <a:cxn ang="0">
                      <a:pos x="10" y="37"/>
                    </a:cxn>
                    <a:cxn ang="0">
                      <a:pos x="11" y="37"/>
                    </a:cxn>
                    <a:cxn ang="0">
                      <a:pos x="13" y="39"/>
                    </a:cxn>
                    <a:cxn ang="0">
                      <a:pos x="26" y="39"/>
                    </a:cxn>
                    <a:cxn ang="0">
                      <a:pos x="28" y="37"/>
                    </a:cxn>
                    <a:cxn ang="0">
                      <a:pos x="30" y="37"/>
                    </a:cxn>
                    <a:cxn ang="0">
                      <a:pos x="31" y="35"/>
                    </a:cxn>
                    <a:cxn ang="0">
                      <a:pos x="33" y="35"/>
                    </a:cxn>
                    <a:cxn ang="0">
                      <a:pos x="33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6" y="32"/>
                    </a:cxn>
                    <a:cxn ang="0">
                      <a:pos x="36" y="31"/>
                    </a:cxn>
                    <a:cxn ang="0">
                      <a:pos x="38" y="29"/>
                    </a:cxn>
                    <a:cxn ang="0">
                      <a:pos x="38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8" y="11"/>
                      </a:lnTo>
                      <a:lnTo>
                        <a:pt x="38" y="9"/>
                      </a:lnTo>
                      <a:lnTo>
                        <a:pt x="36" y="8"/>
                      </a:lnTo>
                      <a:lnTo>
                        <a:pt x="36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3" y="4"/>
                      </a:lnTo>
                      <a:lnTo>
                        <a:pt x="33" y="3"/>
                      </a:lnTo>
                      <a:lnTo>
                        <a:pt x="31" y="3"/>
                      </a:lnTo>
                      <a:lnTo>
                        <a:pt x="30" y="1"/>
                      </a:lnTo>
                      <a:lnTo>
                        <a:pt x="28" y="1"/>
                      </a:lnTo>
                      <a:lnTo>
                        <a:pt x="2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1" y="27"/>
                      </a:lnTo>
                      <a:lnTo>
                        <a:pt x="1" y="29"/>
                      </a:lnTo>
                      <a:lnTo>
                        <a:pt x="3" y="31"/>
                      </a:lnTo>
                      <a:lnTo>
                        <a:pt x="3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6" y="35"/>
                      </a:lnTo>
                      <a:lnTo>
                        <a:pt x="8" y="35"/>
                      </a:lnTo>
                      <a:lnTo>
                        <a:pt x="10" y="37"/>
                      </a:lnTo>
                      <a:lnTo>
                        <a:pt x="11" y="37"/>
                      </a:lnTo>
                      <a:lnTo>
                        <a:pt x="13" y="39"/>
                      </a:lnTo>
                      <a:lnTo>
                        <a:pt x="26" y="39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5"/>
                      </a:lnTo>
                      <a:lnTo>
                        <a:pt x="33" y="35"/>
                      </a:lnTo>
                      <a:lnTo>
                        <a:pt x="33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6" y="32"/>
                      </a:lnTo>
                      <a:lnTo>
                        <a:pt x="36" y="31"/>
                      </a:lnTo>
                      <a:lnTo>
                        <a:pt x="38" y="29"/>
                      </a:lnTo>
                      <a:lnTo>
                        <a:pt x="38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" name="Freeform 125">
                  <a:extLst>
                    <a:ext uri="{FF2B5EF4-FFF2-40B4-BE49-F238E27FC236}">
                      <a16:creationId xmlns:a16="http://schemas.microsoft.com/office/drawing/2014/main" id="{C1B5DF93-5279-4517-9ACC-3B4948B339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6" y="2761"/>
                  <a:ext cx="115" cy="332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2" y="270"/>
                    </a:cxn>
                    <a:cxn ang="0">
                      <a:pos x="2" y="272"/>
                    </a:cxn>
                    <a:cxn ang="0">
                      <a:pos x="92" y="272"/>
                    </a:cxn>
                    <a:cxn ang="0">
                      <a:pos x="95" y="269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69"/>
                    </a:cxn>
                    <a:cxn ang="0">
                      <a:pos x="92" y="266"/>
                    </a:cxn>
                    <a:cxn ang="0">
                      <a:pos x="4" y="266"/>
                    </a:cxn>
                    <a:cxn ang="0">
                      <a:pos x="7" y="269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2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2" y="270"/>
                      </a:lnTo>
                      <a:lnTo>
                        <a:pt x="2" y="272"/>
                      </a:lnTo>
                      <a:lnTo>
                        <a:pt x="92" y="272"/>
                      </a:lnTo>
                      <a:lnTo>
                        <a:pt x="95" y="269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69"/>
                      </a:lnTo>
                      <a:lnTo>
                        <a:pt x="92" y="266"/>
                      </a:lnTo>
                      <a:lnTo>
                        <a:pt x="4" y="266"/>
                      </a:lnTo>
                      <a:lnTo>
                        <a:pt x="7" y="269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9" name="Freeform 126">
                  <a:extLst>
                    <a:ext uri="{FF2B5EF4-FFF2-40B4-BE49-F238E27FC236}">
                      <a16:creationId xmlns:a16="http://schemas.microsoft.com/office/drawing/2014/main" id="{C2DE6CB5-2DA1-4821-AA31-3059CA9404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33" y="2852"/>
                  <a:ext cx="38" cy="7"/>
                </a:xfrm>
                <a:custGeom>
                  <a:avLst/>
                  <a:gdLst/>
                  <a:ahLst/>
                  <a:cxnLst>
                    <a:cxn ang="0">
                      <a:pos x="28" y="6"/>
                    </a:cxn>
                    <a:cxn ang="0">
                      <a:pos x="31" y="3"/>
                    </a:cxn>
                    <a:cxn ang="0">
                      <a:pos x="31" y="1"/>
                    </a:cxn>
                    <a:cxn ang="0">
                      <a:pos x="30" y="1"/>
                    </a:cxn>
                    <a:cxn ang="0">
                      <a:pos x="30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3" y="6"/>
                    </a:cxn>
                    <a:cxn ang="0">
                      <a:pos x="28" y="6"/>
                    </a:cxn>
                  </a:cxnLst>
                  <a:rect l="0" t="0" r="r" b="b"/>
                  <a:pathLst>
                    <a:path w="31" h="6">
                      <a:moveTo>
                        <a:pt x="28" y="6"/>
                      </a:moveTo>
                      <a:lnTo>
                        <a:pt x="31" y="3"/>
                      </a:lnTo>
                      <a:lnTo>
                        <a:pt x="31" y="1"/>
                      </a:lnTo>
                      <a:lnTo>
                        <a:pt x="30" y="1"/>
                      </a:lnTo>
                      <a:lnTo>
                        <a:pt x="3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28" y="6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0" name="Freeform 127">
                  <a:extLst>
                    <a:ext uri="{FF2B5EF4-FFF2-40B4-BE49-F238E27FC236}">
                      <a16:creationId xmlns:a16="http://schemas.microsoft.com/office/drawing/2014/main" id="{6169E50B-6889-489A-BA6C-8CD64E4308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00" y="2854"/>
                  <a:ext cx="34" cy="8"/>
                </a:xfrm>
                <a:custGeom>
                  <a:avLst/>
                  <a:gdLst/>
                  <a:ahLst/>
                  <a:cxnLst>
                    <a:cxn ang="0">
                      <a:pos x="25" y="6"/>
                    </a:cxn>
                    <a:cxn ang="0">
                      <a:pos x="28" y="3"/>
                    </a:cxn>
                    <a:cxn ang="0">
                      <a:pos x="28" y="1"/>
                    </a:cxn>
                    <a:cxn ang="0">
                      <a:pos x="27" y="1"/>
                    </a:cxn>
                    <a:cxn ang="0">
                      <a:pos x="27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4"/>
                    </a:cxn>
                    <a:cxn ang="0">
                      <a:pos x="2" y="6"/>
                    </a:cxn>
                    <a:cxn ang="0">
                      <a:pos x="4" y="6"/>
                    </a:cxn>
                    <a:cxn ang="0">
                      <a:pos x="25" y="6"/>
                    </a:cxn>
                  </a:cxnLst>
                  <a:rect l="0" t="0" r="r" b="b"/>
                  <a:pathLst>
                    <a:path w="28" h="6">
                      <a:moveTo>
                        <a:pt x="25" y="6"/>
                      </a:moveTo>
                      <a:lnTo>
                        <a:pt x="28" y="3"/>
                      </a:lnTo>
                      <a:lnTo>
                        <a:pt x="28" y="1"/>
                      </a:lnTo>
                      <a:lnTo>
                        <a:pt x="27" y="1"/>
                      </a:lnTo>
                      <a:lnTo>
                        <a:pt x="27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25" y="6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1" name="Rectangle 128">
                  <a:extLst>
                    <a:ext uri="{FF2B5EF4-FFF2-40B4-BE49-F238E27FC236}">
                      <a16:creationId xmlns:a16="http://schemas.microsoft.com/office/drawing/2014/main" id="{09203780-B475-4730-8029-9C7DB68A89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406" y="2764"/>
                  <a:ext cx="108" cy="328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2" name="Freeform 129">
                  <a:extLst>
                    <a:ext uri="{FF2B5EF4-FFF2-40B4-BE49-F238E27FC236}">
                      <a16:creationId xmlns:a16="http://schemas.microsoft.com/office/drawing/2014/main" id="{50D83065-C6A0-46AA-A897-CB39D38F4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9" y="2806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30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5" y="3"/>
                    </a:cxn>
                    <a:cxn ang="0">
                      <a:pos x="15" y="4"/>
                    </a:cxn>
                    <a:cxn ang="0">
                      <a:pos x="10" y="4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5" y="195"/>
                    </a:cxn>
                    <a:cxn ang="0">
                      <a:pos x="15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30" y="199"/>
                    </a:cxn>
                    <a:cxn ang="0">
                      <a:pos x="30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70" y="199"/>
                    </a:cxn>
                    <a:cxn ang="0">
                      <a:pos x="70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4"/>
                    </a:cxn>
                    <a:cxn ang="0">
                      <a:pos x="76" y="4"/>
                    </a:cxn>
                    <a:cxn ang="0">
                      <a:pos x="76" y="3"/>
                    </a:cxn>
                    <a:cxn ang="0">
                      <a:pos x="70" y="3"/>
                    </a:cxn>
                    <a:cxn ang="0">
                      <a:pos x="70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89" h="200">
                      <a:moveTo>
                        <a:pt x="30" y="0"/>
                      </a:moveTo>
                      <a:lnTo>
                        <a:pt x="30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5" y="3"/>
                      </a:lnTo>
                      <a:lnTo>
                        <a:pt x="15" y="4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5" y="195"/>
                      </a:lnTo>
                      <a:lnTo>
                        <a:pt x="15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30" y="199"/>
                      </a:lnTo>
                      <a:lnTo>
                        <a:pt x="30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70" y="199"/>
                      </a:lnTo>
                      <a:lnTo>
                        <a:pt x="70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4"/>
                      </a:lnTo>
                      <a:lnTo>
                        <a:pt x="76" y="4"/>
                      </a:lnTo>
                      <a:lnTo>
                        <a:pt x="76" y="3"/>
                      </a:lnTo>
                      <a:lnTo>
                        <a:pt x="70" y="3"/>
                      </a:lnTo>
                      <a:lnTo>
                        <a:pt x="70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3" name="Freeform 130">
                  <a:extLst>
                    <a:ext uri="{FF2B5EF4-FFF2-40B4-BE49-F238E27FC236}">
                      <a16:creationId xmlns:a16="http://schemas.microsoft.com/office/drawing/2014/main" id="{0F0CFBA3-9794-4EED-8607-DC825A429A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6" y="2853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5" y="4"/>
                    </a:cxn>
                    <a:cxn ang="0">
                      <a:pos x="20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20" y="118"/>
                    </a:cxn>
                    <a:cxn ang="0">
                      <a:pos x="25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5" y="2"/>
                      </a:lnTo>
                      <a:lnTo>
                        <a:pt x="25" y="4"/>
                      </a:lnTo>
                      <a:lnTo>
                        <a:pt x="20" y="4"/>
                      </a:lnTo>
                      <a:lnTo>
                        <a:pt x="20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20" y="118"/>
                      </a:lnTo>
                      <a:lnTo>
                        <a:pt x="20" y="119"/>
                      </a:lnTo>
                      <a:lnTo>
                        <a:pt x="25" y="119"/>
                      </a:lnTo>
                      <a:lnTo>
                        <a:pt x="25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4" name="Freeform 131">
                  <a:extLst>
                    <a:ext uri="{FF2B5EF4-FFF2-40B4-BE49-F238E27FC236}">
                      <a16:creationId xmlns:a16="http://schemas.microsoft.com/office/drawing/2014/main" id="{3AE2B6CF-54DE-431F-9923-DDABF8F9D2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38" y="2905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8" y="11"/>
                    </a:cxn>
                    <a:cxn ang="0">
                      <a:pos x="38" y="9"/>
                    </a:cxn>
                    <a:cxn ang="0">
                      <a:pos x="36" y="8"/>
                    </a:cxn>
                    <a:cxn ang="0">
                      <a:pos x="36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3" y="4"/>
                    </a:cxn>
                    <a:cxn ang="0">
                      <a:pos x="33" y="3"/>
                    </a:cxn>
                    <a:cxn ang="0">
                      <a:pos x="31" y="3"/>
                    </a:cxn>
                    <a:cxn ang="0">
                      <a:pos x="30" y="1"/>
                    </a:cxn>
                    <a:cxn ang="0">
                      <a:pos x="28" y="1"/>
                    </a:cxn>
                    <a:cxn ang="0">
                      <a:pos x="26" y="0"/>
                    </a:cxn>
                    <a:cxn ang="0">
                      <a:pos x="13" y="0"/>
                    </a:cxn>
                    <a:cxn ang="0">
                      <a:pos x="11" y="1"/>
                    </a:cxn>
                    <a:cxn ang="0">
                      <a:pos x="10" y="1"/>
                    </a:cxn>
                    <a:cxn ang="0">
                      <a:pos x="8" y="3"/>
                    </a:cxn>
                    <a:cxn ang="0">
                      <a:pos x="6" y="3"/>
                    </a:cxn>
                    <a:cxn ang="0">
                      <a:pos x="6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3" y="6"/>
                    </a:cxn>
                    <a:cxn ang="0">
                      <a:pos x="3" y="8"/>
                    </a:cxn>
                    <a:cxn ang="0">
                      <a:pos x="1" y="9"/>
                    </a:cxn>
                    <a:cxn ang="0">
                      <a:pos x="1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1" y="27"/>
                    </a:cxn>
                    <a:cxn ang="0">
                      <a:pos x="1" y="29"/>
                    </a:cxn>
                    <a:cxn ang="0">
                      <a:pos x="3" y="31"/>
                    </a:cxn>
                    <a:cxn ang="0">
                      <a:pos x="3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6" y="34"/>
                    </a:cxn>
                    <a:cxn ang="0">
                      <a:pos x="6" y="35"/>
                    </a:cxn>
                    <a:cxn ang="0">
                      <a:pos x="8" y="35"/>
                    </a:cxn>
                    <a:cxn ang="0">
                      <a:pos x="10" y="37"/>
                    </a:cxn>
                    <a:cxn ang="0">
                      <a:pos x="11" y="37"/>
                    </a:cxn>
                    <a:cxn ang="0">
                      <a:pos x="13" y="39"/>
                    </a:cxn>
                    <a:cxn ang="0">
                      <a:pos x="26" y="39"/>
                    </a:cxn>
                    <a:cxn ang="0">
                      <a:pos x="28" y="37"/>
                    </a:cxn>
                    <a:cxn ang="0">
                      <a:pos x="30" y="37"/>
                    </a:cxn>
                    <a:cxn ang="0">
                      <a:pos x="31" y="35"/>
                    </a:cxn>
                    <a:cxn ang="0">
                      <a:pos x="33" y="35"/>
                    </a:cxn>
                    <a:cxn ang="0">
                      <a:pos x="33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6" y="32"/>
                    </a:cxn>
                    <a:cxn ang="0">
                      <a:pos x="36" y="31"/>
                    </a:cxn>
                    <a:cxn ang="0">
                      <a:pos x="38" y="29"/>
                    </a:cxn>
                    <a:cxn ang="0">
                      <a:pos x="38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8" y="11"/>
                      </a:lnTo>
                      <a:lnTo>
                        <a:pt x="38" y="9"/>
                      </a:lnTo>
                      <a:lnTo>
                        <a:pt x="36" y="8"/>
                      </a:lnTo>
                      <a:lnTo>
                        <a:pt x="36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3" y="4"/>
                      </a:lnTo>
                      <a:lnTo>
                        <a:pt x="33" y="3"/>
                      </a:lnTo>
                      <a:lnTo>
                        <a:pt x="31" y="3"/>
                      </a:lnTo>
                      <a:lnTo>
                        <a:pt x="30" y="1"/>
                      </a:lnTo>
                      <a:lnTo>
                        <a:pt x="28" y="1"/>
                      </a:lnTo>
                      <a:lnTo>
                        <a:pt x="26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1" y="27"/>
                      </a:lnTo>
                      <a:lnTo>
                        <a:pt x="1" y="29"/>
                      </a:lnTo>
                      <a:lnTo>
                        <a:pt x="3" y="31"/>
                      </a:lnTo>
                      <a:lnTo>
                        <a:pt x="3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6" y="35"/>
                      </a:lnTo>
                      <a:lnTo>
                        <a:pt x="8" y="35"/>
                      </a:lnTo>
                      <a:lnTo>
                        <a:pt x="10" y="37"/>
                      </a:lnTo>
                      <a:lnTo>
                        <a:pt x="11" y="37"/>
                      </a:lnTo>
                      <a:lnTo>
                        <a:pt x="13" y="39"/>
                      </a:lnTo>
                      <a:lnTo>
                        <a:pt x="26" y="39"/>
                      </a:lnTo>
                      <a:lnTo>
                        <a:pt x="28" y="37"/>
                      </a:lnTo>
                      <a:lnTo>
                        <a:pt x="30" y="37"/>
                      </a:lnTo>
                      <a:lnTo>
                        <a:pt x="31" y="35"/>
                      </a:lnTo>
                      <a:lnTo>
                        <a:pt x="33" y="35"/>
                      </a:lnTo>
                      <a:lnTo>
                        <a:pt x="33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6" y="32"/>
                      </a:lnTo>
                      <a:lnTo>
                        <a:pt x="36" y="31"/>
                      </a:lnTo>
                      <a:lnTo>
                        <a:pt x="38" y="29"/>
                      </a:lnTo>
                      <a:lnTo>
                        <a:pt x="38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5" name="Freeform 132">
                  <a:extLst>
                    <a:ext uri="{FF2B5EF4-FFF2-40B4-BE49-F238E27FC236}">
                      <a16:creationId xmlns:a16="http://schemas.microsoft.com/office/drawing/2014/main" id="{D3782920-F18D-4C0F-BC6B-6472914B00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4" y="2760"/>
                  <a:ext cx="115" cy="334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2"/>
                    </a:cxn>
                    <a:cxn ang="0">
                      <a:pos x="2" y="272"/>
                    </a:cxn>
                    <a:cxn ang="0">
                      <a:pos x="2" y="274"/>
                    </a:cxn>
                    <a:cxn ang="0">
                      <a:pos x="92" y="274"/>
                    </a:cxn>
                    <a:cxn ang="0">
                      <a:pos x="95" y="270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70"/>
                    </a:cxn>
                    <a:cxn ang="0">
                      <a:pos x="92" y="267"/>
                    </a:cxn>
                    <a:cxn ang="0">
                      <a:pos x="4" y="267"/>
                    </a:cxn>
                    <a:cxn ang="0">
                      <a:pos x="7" y="270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4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2"/>
                      </a:lnTo>
                      <a:lnTo>
                        <a:pt x="2" y="272"/>
                      </a:lnTo>
                      <a:lnTo>
                        <a:pt x="2" y="274"/>
                      </a:lnTo>
                      <a:lnTo>
                        <a:pt x="92" y="274"/>
                      </a:lnTo>
                      <a:lnTo>
                        <a:pt x="95" y="270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70"/>
                      </a:lnTo>
                      <a:lnTo>
                        <a:pt x="92" y="267"/>
                      </a:lnTo>
                      <a:lnTo>
                        <a:pt x="4" y="267"/>
                      </a:lnTo>
                      <a:lnTo>
                        <a:pt x="7" y="270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6" name="Freeform 133">
                  <a:extLst>
                    <a:ext uri="{FF2B5EF4-FFF2-40B4-BE49-F238E27FC236}">
                      <a16:creationId xmlns:a16="http://schemas.microsoft.com/office/drawing/2014/main" id="{2D0A8C5C-5F8B-40F9-96B1-30626FD8BE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59" y="2851"/>
                  <a:ext cx="38" cy="9"/>
                </a:xfrm>
                <a:custGeom>
                  <a:avLst/>
                  <a:gdLst/>
                  <a:ahLst/>
                  <a:cxnLst>
                    <a:cxn ang="0">
                      <a:pos x="28" y="7"/>
                    </a:cxn>
                    <a:cxn ang="0">
                      <a:pos x="31" y="4"/>
                    </a:cxn>
                    <a:cxn ang="0">
                      <a:pos x="31" y="2"/>
                    </a:cxn>
                    <a:cxn ang="0">
                      <a:pos x="30" y="2"/>
                    </a:cxn>
                    <a:cxn ang="0">
                      <a:pos x="30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7"/>
                    </a:cxn>
                    <a:cxn ang="0">
                      <a:pos x="3" y="7"/>
                    </a:cxn>
                    <a:cxn ang="0">
                      <a:pos x="28" y="7"/>
                    </a:cxn>
                  </a:cxnLst>
                  <a:rect l="0" t="0" r="r" b="b"/>
                  <a:pathLst>
                    <a:path w="31" h="7">
                      <a:moveTo>
                        <a:pt x="28" y="7"/>
                      </a:moveTo>
                      <a:lnTo>
                        <a:pt x="31" y="4"/>
                      </a:lnTo>
                      <a:lnTo>
                        <a:pt x="31" y="2"/>
                      </a:lnTo>
                      <a:lnTo>
                        <a:pt x="30" y="2"/>
                      </a:lnTo>
                      <a:lnTo>
                        <a:pt x="30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28" y="7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7" name="Freeform 134">
                  <a:extLst>
                    <a:ext uri="{FF2B5EF4-FFF2-40B4-BE49-F238E27FC236}">
                      <a16:creationId xmlns:a16="http://schemas.microsoft.com/office/drawing/2014/main" id="{63C04BEE-7D89-400A-9944-D6175A800D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26" y="2854"/>
                  <a:ext cx="34" cy="8"/>
                </a:xfrm>
                <a:custGeom>
                  <a:avLst/>
                  <a:gdLst/>
                  <a:ahLst/>
                  <a:cxnLst>
                    <a:cxn ang="0">
                      <a:pos x="25" y="7"/>
                    </a:cxn>
                    <a:cxn ang="0">
                      <a:pos x="28" y="3"/>
                    </a:cxn>
                    <a:cxn ang="0">
                      <a:pos x="28" y="2"/>
                    </a:cxn>
                    <a:cxn ang="0">
                      <a:pos x="27" y="2"/>
                    </a:cxn>
                    <a:cxn ang="0">
                      <a:pos x="27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7"/>
                    </a:cxn>
                    <a:cxn ang="0">
                      <a:pos x="4" y="7"/>
                    </a:cxn>
                    <a:cxn ang="0">
                      <a:pos x="25" y="7"/>
                    </a:cxn>
                  </a:cxnLst>
                  <a:rect l="0" t="0" r="r" b="b"/>
                  <a:pathLst>
                    <a:path w="28" h="7">
                      <a:moveTo>
                        <a:pt x="25" y="7"/>
                      </a:moveTo>
                      <a:lnTo>
                        <a:pt x="28" y="3"/>
                      </a:lnTo>
                      <a:lnTo>
                        <a:pt x="28" y="2"/>
                      </a:lnTo>
                      <a:lnTo>
                        <a:pt x="27" y="2"/>
                      </a:lnTo>
                      <a:lnTo>
                        <a:pt x="27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25" y="7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8" name="Rectangle 135">
                  <a:extLst>
                    <a:ext uri="{FF2B5EF4-FFF2-40B4-BE49-F238E27FC236}">
                      <a16:creationId xmlns:a16="http://schemas.microsoft.com/office/drawing/2014/main" id="{102F13B7-0140-470B-B33B-3D991FC7CA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406" y="1749"/>
                  <a:ext cx="108" cy="328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" name="Freeform 136">
                  <a:extLst>
                    <a:ext uri="{FF2B5EF4-FFF2-40B4-BE49-F238E27FC236}">
                      <a16:creationId xmlns:a16="http://schemas.microsoft.com/office/drawing/2014/main" id="{FF2920DC-DA37-4E00-A34C-B00D908EBB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9" y="1791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29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4" y="3"/>
                    </a:cxn>
                    <a:cxn ang="0">
                      <a:pos x="14" y="4"/>
                    </a:cxn>
                    <a:cxn ang="0">
                      <a:pos x="10" y="4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4" y="195"/>
                    </a:cxn>
                    <a:cxn ang="0">
                      <a:pos x="14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29" y="199"/>
                    </a:cxn>
                    <a:cxn ang="0">
                      <a:pos x="29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69" y="199"/>
                    </a:cxn>
                    <a:cxn ang="0">
                      <a:pos x="69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4"/>
                    </a:cxn>
                    <a:cxn ang="0">
                      <a:pos x="76" y="4"/>
                    </a:cxn>
                    <a:cxn ang="0">
                      <a:pos x="76" y="3"/>
                    </a:cxn>
                    <a:cxn ang="0">
                      <a:pos x="69" y="3"/>
                    </a:cxn>
                    <a:cxn ang="0">
                      <a:pos x="69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89" h="200">
                      <a:moveTo>
                        <a:pt x="29" y="0"/>
                      </a:moveTo>
                      <a:lnTo>
                        <a:pt x="29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4" y="3"/>
                      </a:ln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4" y="195"/>
                      </a:lnTo>
                      <a:lnTo>
                        <a:pt x="14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29" y="199"/>
                      </a:lnTo>
                      <a:lnTo>
                        <a:pt x="29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69" y="199"/>
                      </a:lnTo>
                      <a:lnTo>
                        <a:pt x="69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4"/>
                      </a:lnTo>
                      <a:lnTo>
                        <a:pt x="76" y="4"/>
                      </a:lnTo>
                      <a:lnTo>
                        <a:pt x="76" y="3"/>
                      </a:lnTo>
                      <a:lnTo>
                        <a:pt x="69" y="3"/>
                      </a:lnTo>
                      <a:lnTo>
                        <a:pt x="69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0" name="Freeform 137">
                  <a:extLst>
                    <a:ext uri="{FF2B5EF4-FFF2-40B4-BE49-F238E27FC236}">
                      <a16:creationId xmlns:a16="http://schemas.microsoft.com/office/drawing/2014/main" id="{EB45BEC6-097B-42BC-8748-2965B6AC02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6" y="1838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4" y="4"/>
                    </a:cxn>
                    <a:cxn ang="0">
                      <a:pos x="19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19" y="118"/>
                    </a:cxn>
                    <a:cxn ang="0">
                      <a:pos x="24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4" y="2"/>
                      </a:lnTo>
                      <a:lnTo>
                        <a:pt x="24" y="4"/>
                      </a:lnTo>
                      <a:lnTo>
                        <a:pt x="19" y="4"/>
                      </a:lnTo>
                      <a:lnTo>
                        <a:pt x="19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19" y="118"/>
                      </a:lnTo>
                      <a:lnTo>
                        <a:pt x="19" y="119"/>
                      </a:lnTo>
                      <a:lnTo>
                        <a:pt x="24" y="119"/>
                      </a:lnTo>
                      <a:lnTo>
                        <a:pt x="24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1" name="Freeform 138">
                  <a:extLst>
                    <a:ext uri="{FF2B5EF4-FFF2-40B4-BE49-F238E27FC236}">
                      <a16:creationId xmlns:a16="http://schemas.microsoft.com/office/drawing/2014/main" id="{A982F3A0-233F-4DBF-9AC7-055794B17D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38" y="1889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9" y="11"/>
                    </a:cxn>
                    <a:cxn ang="0">
                      <a:pos x="39" y="9"/>
                    </a:cxn>
                    <a:cxn ang="0">
                      <a:pos x="37" y="8"/>
                    </a:cxn>
                    <a:cxn ang="0">
                      <a:pos x="37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4" y="4"/>
                    </a:cxn>
                    <a:cxn ang="0">
                      <a:pos x="34" y="3"/>
                    </a:cxn>
                    <a:cxn ang="0">
                      <a:pos x="32" y="3"/>
                    </a:cxn>
                    <a:cxn ang="0">
                      <a:pos x="30" y="1"/>
                    </a:cxn>
                    <a:cxn ang="0">
                      <a:pos x="29" y="1"/>
                    </a:cxn>
                    <a:cxn ang="0">
                      <a:pos x="27" y="0"/>
                    </a:cxn>
                    <a:cxn ang="0">
                      <a:pos x="14" y="0"/>
                    </a:cxn>
                    <a:cxn ang="0">
                      <a:pos x="12" y="1"/>
                    </a:cxn>
                    <a:cxn ang="0">
                      <a:pos x="10" y="1"/>
                    </a:cxn>
                    <a:cxn ang="0">
                      <a:pos x="9" y="3"/>
                    </a:cxn>
                    <a:cxn ang="0">
                      <a:pos x="7" y="3"/>
                    </a:cxn>
                    <a:cxn ang="0">
                      <a:pos x="7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4" y="6"/>
                    </a:cxn>
                    <a:cxn ang="0">
                      <a:pos x="4" y="8"/>
                    </a:cxn>
                    <a:cxn ang="0">
                      <a:pos x="2" y="9"/>
                    </a:cxn>
                    <a:cxn ang="0">
                      <a:pos x="2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2" y="27"/>
                    </a:cxn>
                    <a:cxn ang="0">
                      <a:pos x="2" y="29"/>
                    </a:cxn>
                    <a:cxn ang="0">
                      <a:pos x="4" y="31"/>
                    </a:cxn>
                    <a:cxn ang="0">
                      <a:pos x="4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7" y="34"/>
                    </a:cxn>
                    <a:cxn ang="0">
                      <a:pos x="7" y="35"/>
                    </a:cxn>
                    <a:cxn ang="0">
                      <a:pos x="9" y="35"/>
                    </a:cxn>
                    <a:cxn ang="0">
                      <a:pos x="10" y="37"/>
                    </a:cxn>
                    <a:cxn ang="0">
                      <a:pos x="12" y="37"/>
                    </a:cxn>
                    <a:cxn ang="0">
                      <a:pos x="14" y="39"/>
                    </a:cxn>
                    <a:cxn ang="0">
                      <a:pos x="27" y="39"/>
                    </a:cxn>
                    <a:cxn ang="0">
                      <a:pos x="29" y="37"/>
                    </a:cxn>
                    <a:cxn ang="0">
                      <a:pos x="30" y="37"/>
                    </a:cxn>
                    <a:cxn ang="0">
                      <a:pos x="32" y="35"/>
                    </a:cxn>
                    <a:cxn ang="0">
                      <a:pos x="34" y="35"/>
                    </a:cxn>
                    <a:cxn ang="0">
                      <a:pos x="34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7" y="32"/>
                    </a:cxn>
                    <a:cxn ang="0">
                      <a:pos x="37" y="31"/>
                    </a:cxn>
                    <a:cxn ang="0">
                      <a:pos x="39" y="29"/>
                    </a:cxn>
                    <a:cxn ang="0">
                      <a:pos x="39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9" y="11"/>
                      </a:lnTo>
                      <a:lnTo>
                        <a:pt x="39" y="9"/>
                      </a:lnTo>
                      <a:lnTo>
                        <a:pt x="37" y="8"/>
                      </a:lnTo>
                      <a:lnTo>
                        <a:pt x="37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4" y="4"/>
                      </a:lnTo>
                      <a:lnTo>
                        <a:pt x="34" y="3"/>
                      </a:lnTo>
                      <a:lnTo>
                        <a:pt x="32" y="3"/>
                      </a:lnTo>
                      <a:lnTo>
                        <a:pt x="30" y="1"/>
                      </a:lnTo>
                      <a:lnTo>
                        <a:pt x="29" y="1"/>
                      </a:lnTo>
                      <a:lnTo>
                        <a:pt x="27" y="0"/>
                      </a:lnTo>
                      <a:lnTo>
                        <a:pt x="14" y="0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2" y="9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2" y="27"/>
                      </a:lnTo>
                      <a:lnTo>
                        <a:pt x="2" y="29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7" y="34"/>
                      </a:lnTo>
                      <a:lnTo>
                        <a:pt x="7" y="35"/>
                      </a:lnTo>
                      <a:lnTo>
                        <a:pt x="9" y="35"/>
                      </a:lnTo>
                      <a:lnTo>
                        <a:pt x="10" y="37"/>
                      </a:lnTo>
                      <a:lnTo>
                        <a:pt x="12" y="37"/>
                      </a:lnTo>
                      <a:lnTo>
                        <a:pt x="14" y="39"/>
                      </a:lnTo>
                      <a:lnTo>
                        <a:pt x="27" y="39"/>
                      </a:lnTo>
                      <a:lnTo>
                        <a:pt x="29" y="37"/>
                      </a:lnTo>
                      <a:lnTo>
                        <a:pt x="30" y="37"/>
                      </a:lnTo>
                      <a:lnTo>
                        <a:pt x="32" y="35"/>
                      </a:lnTo>
                      <a:lnTo>
                        <a:pt x="34" y="35"/>
                      </a:lnTo>
                      <a:lnTo>
                        <a:pt x="34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7" y="32"/>
                      </a:lnTo>
                      <a:lnTo>
                        <a:pt x="37" y="31"/>
                      </a:lnTo>
                      <a:lnTo>
                        <a:pt x="39" y="29"/>
                      </a:lnTo>
                      <a:lnTo>
                        <a:pt x="39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" name="Freeform 139">
                  <a:extLst>
                    <a:ext uri="{FF2B5EF4-FFF2-40B4-BE49-F238E27FC236}">
                      <a16:creationId xmlns:a16="http://schemas.microsoft.com/office/drawing/2014/main" id="{F1BF0E77-2586-4555-98AA-20C9C61725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04" y="1745"/>
                  <a:ext cx="116" cy="334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2"/>
                    </a:cxn>
                    <a:cxn ang="0">
                      <a:pos x="2" y="272"/>
                    </a:cxn>
                    <a:cxn ang="0">
                      <a:pos x="2" y="274"/>
                    </a:cxn>
                    <a:cxn ang="0">
                      <a:pos x="92" y="274"/>
                    </a:cxn>
                    <a:cxn ang="0">
                      <a:pos x="95" y="270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70"/>
                    </a:cxn>
                    <a:cxn ang="0">
                      <a:pos x="92" y="267"/>
                    </a:cxn>
                    <a:cxn ang="0">
                      <a:pos x="4" y="267"/>
                    </a:cxn>
                    <a:cxn ang="0">
                      <a:pos x="7" y="270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4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2"/>
                      </a:lnTo>
                      <a:lnTo>
                        <a:pt x="2" y="272"/>
                      </a:lnTo>
                      <a:lnTo>
                        <a:pt x="2" y="274"/>
                      </a:lnTo>
                      <a:lnTo>
                        <a:pt x="92" y="274"/>
                      </a:lnTo>
                      <a:lnTo>
                        <a:pt x="95" y="270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70"/>
                      </a:lnTo>
                      <a:lnTo>
                        <a:pt x="92" y="267"/>
                      </a:lnTo>
                      <a:lnTo>
                        <a:pt x="4" y="267"/>
                      </a:lnTo>
                      <a:lnTo>
                        <a:pt x="7" y="270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3" name="Freeform 140">
                  <a:extLst>
                    <a:ext uri="{FF2B5EF4-FFF2-40B4-BE49-F238E27FC236}">
                      <a16:creationId xmlns:a16="http://schemas.microsoft.com/office/drawing/2014/main" id="{F9EEFBFC-185E-428A-9F42-38F3FD7BD3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27" y="1979"/>
                  <a:ext cx="37" cy="8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4"/>
                    </a:cxn>
                    <a:cxn ang="0">
                      <a:pos x="2" y="6"/>
                    </a:cxn>
                    <a:cxn ang="0">
                      <a:pos x="28" y="6"/>
                    </a:cxn>
                    <a:cxn ang="0">
                      <a:pos x="31" y="3"/>
                    </a:cxn>
                    <a:cxn ang="0">
                      <a:pos x="31" y="1"/>
                    </a:cxn>
                    <a:cxn ang="0">
                      <a:pos x="30" y="1"/>
                    </a:cxn>
                    <a:cxn ang="0">
                      <a:pos x="30" y="0"/>
                    </a:cxn>
                    <a:cxn ang="0">
                      <a:pos x="28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1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8" y="6"/>
                      </a:lnTo>
                      <a:lnTo>
                        <a:pt x="31" y="3"/>
                      </a:lnTo>
                      <a:lnTo>
                        <a:pt x="31" y="1"/>
                      </a:lnTo>
                      <a:lnTo>
                        <a:pt x="30" y="1"/>
                      </a:lnTo>
                      <a:lnTo>
                        <a:pt x="30" y="0"/>
                      </a:lnTo>
                      <a:lnTo>
                        <a:pt x="28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4" name="Freeform 141">
                  <a:extLst>
                    <a:ext uri="{FF2B5EF4-FFF2-40B4-BE49-F238E27FC236}">
                      <a16:creationId xmlns:a16="http://schemas.microsoft.com/office/drawing/2014/main" id="{3225012D-32E2-49C8-9803-D92907EE32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464" y="1977"/>
                  <a:ext cx="34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25" y="6"/>
                    </a:cxn>
                    <a:cxn ang="0">
                      <a:pos x="28" y="3"/>
                    </a:cxn>
                    <a:cxn ang="0">
                      <a:pos x="28" y="1"/>
                    </a:cxn>
                    <a:cxn ang="0">
                      <a:pos x="26" y="1"/>
                    </a:cxn>
                    <a:cxn ang="0">
                      <a:pos x="26" y="0"/>
                    </a:cxn>
                    <a:cxn ang="0">
                      <a:pos x="25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8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5" y="6"/>
                      </a:lnTo>
                      <a:lnTo>
                        <a:pt x="28" y="3"/>
                      </a:lnTo>
                      <a:lnTo>
                        <a:pt x="28" y="1"/>
                      </a:lnTo>
                      <a:lnTo>
                        <a:pt x="26" y="1"/>
                      </a:lnTo>
                      <a:lnTo>
                        <a:pt x="26" y="0"/>
                      </a:lnTo>
                      <a:lnTo>
                        <a:pt x="25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5" name="Rectangle 142">
                  <a:extLst>
                    <a:ext uri="{FF2B5EF4-FFF2-40B4-BE49-F238E27FC236}">
                      <a16:creationId xmlns:a16="http://schemas.microsoft.com/office/drawing/2014/main" id="{54EDFD2C-72EA-4C72-BD57-2AEF82ED68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578" y="1750"/>
                  <a:ext cx="108" cy="326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6" name="Freeform 143">
                  <a:extLst>
                    <a:ext uri="{FF2B5EF4-FFF2-40B4-BE49-F238E27FC236}">
                      <a16:creationId xmlns:a16="http://schemas.microsoft.com/office/drawing/2014/main" id="{D79DA54F-0C48-462C-85F5-C71CE6F045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80" y="1791"/>
                  <a:ext cx="108" cy="244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29" y="1"/>
                    </a:cxn>
                    <a:cxn ang="0">
                      <a:pos x="21" y="1"/>
                    </a:cxn>
                    <a:cxn ang="0">
                      <a:pos x="21" y="3"/>
                    </a:cxn>
                    <a:cxn ang="0">
                      <a:pos x="14" y="3"/>
                    </a:cxn>
                    <a:cxn ang="0">
                      <a:pos x="14" y="5"/>
                    </a:cxn>
                    <a:cxn ang="0">
                      <a:pos x="10" y="5"/>
                    </a:cxn>
                    <a:cxn ang="0">
                      <a:pos x="10" y="6"/>
                    </a:cxn>
                    <a:cxn ang="0">
                      <a:pos x="6" y="6"/>
                    </a:cxn>
                    <a:cxn ang="0">
                      <a:pos x="6" y="8"/>
                    </a:cxn>
                    <a:cxn ang="0">
                      <a:pos x="1" y="8"/>
                    </a:cxn>
                    <a:cxn ang="0">
                      <a:pos x="1" y="9"/>
                    </a:cxn>
                    <a:cxn ang="0">
                      <a:pos x="0" y="9"/>
                    </a:cxn>
                    <a:cxn ang="0">
                      <a:pos x="0" y="190"/>
                    </a:cxn>
                    <a:cxn ang="0">
                      <a:pos x="1" y="190"/>
                    </a:cxn>
                    <a:cxn ang="0">
                      <a:pos x="1" y="192"/>
                    </a:cxn>
                    <a:cxn ang="0">
                      <a:pos x="6" y="192"/>
                    </a:cxn>
                    <a:cxn ang="0">
                      <a:pos x="6" y="194"/>
                    </a:cxn>
                    <a:cxn ang="0">
                      <a:pos x="10" y="194"/>
                    </a:cxn>
                    <a:cxn ang="0">
                      <a:pos x="10" y="195"/>
                    </a:cxn>
                    <a:cxn ang="0">
                      <a:pos x="14" y="195"/>
                    </a:cxn>
                    <a:cxn ang="0">
                      <a:pos x="14" y="197"/>
                    </a:cxn>
                    <a:cxn ang="0">
                      <a:pos x="21" y="197"/>
                    </a:cxn>
                    <a:cxn ang="0">
                      <a:pos x="21" y="199"/>
                    </a:cxn>
                    <a:cxn ang="0">
                      <a:pos x="29" y="199"/>
                    </a:cxn>
                    <a:cxn ang="0">
                      <a:pos x="29" y="200"/>
                    </a:cxn>
                    <a:cxn ang="0">
                      <a:pos x="61" y="200"/>
                    </a:cxn>
                    <a:cxn ang="0">
                      <a:pos x="61" y="199"/>
                    </a:cxn>
                    <a:cxn ang="0">
                      <a:pos x="69" y="199"/>
                    </a:cxn>
                    <a:cxn ang="0">
                      <a:pos x="69" y="197"/>
                    </a:cxn>
                    <a:cxn ang="0">
                      <a:pos x="76" y="197"/>
                    </a:cxn>
                    <a:cxn ang="0">
                      <a:pos x="76" y="195"/>
                    </a:cxn>
                    <a:cxn ang="0">
                      <a:pos x="81" y="195"/>
                    </a:cxn>
                    <a:cxn ang="0">
                      <a:pos x="81" y="194"/>
                    </a:cxn>
                    <a:cxn ang="0">
                      <a:pos x="84" y="194"/>
                    </a:cxn>
                    <a:cxn ang="0">
                      <a:pos x="84" y="192"/>
                    </a:cxn>
                    <a:cxn ang="0">
                      <a:pos x="89" y="192"/>
                    </a:cxn>
                    <a:cxn ang="0">
                      <a:pos x="89" y="8"/>
                    </a:cxn>
                    <a:cxn ang="0">
                      <a:pos x="84" y="8"/>
                    </a:cxn>
                    <a:cxn ang="0">
                      <a:pos x="84" y="6"/>
                    </a:cxn>
                    <a:cxn ang="0">
                      <a:pos x="81" y="6"/>
                    </a:cxn>
                    <a:cxn ang="0">
                      <a:pos x="81" y="5"/>
                    </a:cxn>
                    <a:cxn ang="0">
                      <a:pos x="76" y="5"/>
                    </a:cxn>
                    <a:cxn ang="0">
                      <a:pos x="76" y="3"/>
                    </a:cxn>
                    <a:cxn ang="0">
                      <a:pos x="69" y="3"/>
                    </a:cxn>
                    <a:cxn ang="0">
                      <a:pos x="69" y="1"/>
                    </a:cxn>
                    <a:cxn ang="0">
                      <a:pos x="61" y="1"/>
                    </a:cxn>
                    <a:cxn ang="0">
                      <a:pos x="61" y="0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89" h="200">
                      <a:moveTo>
                        <a:pt x="29" y="0"/>
                      </a:moveTo>
                      <a:lnTo>
                        <a:pt x="29" y="1"/>
                      </a:lnTo>
                      <a:lnTo>
                        <a:pt x="21" y="1"/>
                      </a:lnTo>
                      <a:lnTo>
                        <a:pt x="21" y="3"/>
                      </a:lnTo>
                      <a:lnTo>
                        <a:pt x="14" y="3"/>
                      </a:lnTo>
                      <a:lnTo>
                        <a:pt x="14" y="5"/>
                      </a:lnTo>
                      <a:lnTo>
                        <a:pt x="10" y="5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8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190"/>
                      </a:lnTo>
                      <a:lnTo>
                        <a:pt x="1" y="190"/>
                      </a:lnTo>
                      <a:lnTo>
                        <a:pt x="1" y="192"/>
                      </a:lnTo>
                      <a:lnTo>
                        <a:pt x="6" y="192"/>
                      </a:lnTo>
                      <a:lnTo>
                        <a:pt x="6" y="194"/>
                      </a:lnTo>
                      <a:lnTo>
                        <a:pt x="10" y="194"/>
                      </a:lnTo>
                      <a:lnTo>
                        <a:pt x="10" y="195"/>
                      </a:lnTo>
                      <a:lnTo>
                        <a:pt x="14" y="195"/>
                      </a:lnTo>
                      <a:lnTo>
                        <a:pt x="14" y="197"/>
                      </a:lnTo>
                      <a:lnTo>
                        <a:pt x="21" y="197"/>
                      </a:lnTo>
                      <a:lnTo>
                        <a:pt x="21" y="199"/>
                      </a:lnTo>
                      <a:lnTo>
                        <a:pt x="29" y="199"/>
                      </a:lnTo>
                      <a:lnTo>
                        <a:pt x="29" y="200"/>
                      </a:lnTo>
                      <a:lnTo>
                        <a:pt x="61" y="200"/>
                      </a:lnTo>
                      <a:lnTo>
                        <a:pt x="61" y="199"/>
                      </a:lnTo>
                      <a:lnTo>
                        <a:pt x="69" y="199"/>
                      </a:lnTo>
                      <a:lnTo>
                        <a:pt x="69" y="197"/>
                      </a:lnTo>
                      <a:lnTo>
                        <a:pt x="76" y="197"/>
                      </a:lnTo>
                      <a:lnTo>
                        <a:pt x="76" y="195"/>
                      </a:lnTo>
                      <a:lnTo>
                        <a:pt x="81" y="195"/>
                      </a:lnTo>
                      <a:lnTo>
                        <a:pt x="81" y="194"/>
                      </a:lnTo>
                      <a:lnTo>
                        <a:pt x="84" y="194"/>
                      </a:lnTo>
                      <a:lnTo>
                        <a:pt x="84" y="192"/>
                      </a:lnTo>
                      <a:lnTo>
                        <a:pt x="89" y="192"/>
                      </a:lnTo>
                      <a:lnTo>
                        <a:pt x="89" y="8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6"/>
                      </a:lnTo>
                      <a:lnTo>
                        <a:pt x="81" y="5"/>
                      </a:lnTo>
                      <a:lnTo>
                        <a:pt x="76" y="5"/>
                      </a:lnTo>
                      <a:lnTo>
                        <a:pt x="76" y="3"/>
                      </a:lnTo>
                      <a:lnTo>
                        <a:pt x="69" y="3"/>
                      </a:lnTo>
                      <a:lnTo>
                        <a:pt x="69" y="1"/>
                      </a:lnTo>
                      <a:lnTo>
                        <a:pt x="61" y="1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55555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7" name="Freeform 144">
                  <a:extLst>
                    <a:ext uri="{FF2B5EF4-FFF2-40B4-BE49-F238E27FC236}">
                      <a16:creationId xmlns:a16="http://schemas.microsoft.com/office/drawing/2014/main" id="{95C0BE47-30B0-49EA-A78F-EA9476B420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7" y="1838"/>
                  <a:ext cx="108" cy="15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4" y="4"/>
                    </a:cxn>
                    <a:cxn ang="0">
                      <a:pos x="19" y="5"/>
                    </a:cxn>
                    <a:cxn ang="0">
                      <a:pos x="16" y="7"/>
                    </a:cxn>
                    <a:cxn ang="0">
                      <a:pos x="13" y="9"/>
                    </a:cxn>
                    <a:cxn ang="0">
                      <a:pos x="10" y="10"/>
                    </a:cxn>
                    <a:cxn ang="0">
                      <a:pos x="3" y="13"/>
                    </a:cxn>
                    <a:cxn ang="0">
                      <a:pos x="0" y="17"/>
                    </a:cxn>
                    <a:cxn ang="0">
                      <a:pos x="1" y="106"/>
                    </a:cxn>
                    <a:cxn ang="0">
                      <a:pos x="5" y="110"/>
                    </a:cxn>
                    <a:cxn ang="0">
                      <a:pos x="8" y="111"/>
                    </a:cxn>
                    <a:cxn ang="0">
                      <a:pos x="13" y="115"/>
                    </a:cxn>
                    <a:cxn ang="0">
                      <a:pos x="16" y="116"/>
                    </a:cxn>
                    <a:cxn ang="0">
                      <a:pos x="19" y="118"/>
                    </a:cxn>
                    <a:cxn ang="0">
                      <a:pos x="24" y="119"/>
                    </a:cxn>
                    <a:cxn ang="0">
                      <a:pos x="31" y="121"/>
                    </a:cxn>
                    <a:cxn ang="0">
                      <a:pos x="56" y="123"/>
                    </a:cxn>
                    <a:cxn ang="0">
                      <a:pos x="63" y="121"/>
                    </a:cxn>
                    <a:cxn ang="0">
                      <a:pos x="68" y="119"/>
                    </a:cxn>
                    <a:cxn ang="0">
                      <a:pos x="71" y="118"/>
                    </a:cxn>
                    <a:cxn ang="0">
                      <a:pos x="74" y="116"/>
                    </a:cxn>
                    <a:cxn ang="0">
                      <a:pos x="78" y="115"/>
                    </a:cxn>
                    <a:cxn ang="0">
                      <a:pos x="81" y="111"/>
                    </a:cxn>
                    <a:cxn ang="0">
                      <a:pos x="84" y="108"/>
                    </a:cxn>
                    <a:cxn ang="0">
                      <a:pos x="88" y="105"/>
                    </a:cxn>
                    <a:cxn ang="0">
                      <a:pos x="89" y="18"/>
                    </a:cxn>
                    <a:cxn ang="0">
                      <a:pos x="86" y="15"/>
                    </a:cxn>
                    <a:cxn ang="0">
                      <a:pos x="83" y="12"/>
                    </a:cxn>
                    <a:cxn ang="0">
                      <a:pos x="78" y="9"/>
                    </a:cxn>
                    <a:cxn ang="0">
                      <a:pos x="74" y="7"/>
                    </a:cxn>
                    <a:cxn ang="0">
                      <a:pos x="71" y="5"/>
                    </a:cxn>
                    <a:cxn ang="0">
                      <a:pos x="68" y="4"/>
                    </a:cxn>
                    <a:cxn ang="0">
                      <a:pos x="63" y="2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89" h="123">
                      <a:moveTo>
                        <a:pt x="31" y="0"/>
                      </a:moveTo>
                      <a:lnTo>
                        <a:pt x="31" y="2"/>
                      </a:lnTo>
                      <a:lnTo>
                        <a:pt x="24" y="2"/>
                      </a:lnTo>
                      <a:lnTo>
                        <a:pt x="24" y="4"/>
                      </a:lnTo>
                      <a:lnTo>
                        <a:pt x="19" y="4"/>
                      </a:lnTo>
                      <a:lnTo>
                        <a:pt x="19" y="5"/>
                      </a:lnTo>
                      <a:lnTo>
                        <a:pt x="16" y="5"/>
                      </a:lnTo>
                      <a:lnTo>
                        <a:pt x="16" y="7"/>
                      </a:lnTo>
                      <a:lnTo>
                        <a:pt x="13" y="7"/>
                      </a:lnTo>
                      <a:lnTo>
                        <a:pt x="13" y="9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3" y="15"/>
                      </a:lnTo>
                      <a:lnTo>
                        <a:pt x="0" y="17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3" y="110"/>
                      </a:lnTo>
                      <a:lnTo>
                        <a:pt x="5" y="110"/>
                      </a:lnTo>
                      <a:lnTo>
                        <a:pt x="5" y="111"/>
                      </a:lnTo>
                      <a:lnTo>
                        <a:pt x="8" y="111"/>
                      </a:lnTo>
                      <a:lnTo>
                        <a:pt x="10" y="115"/>
                      </a:lnTo>
                      <a:lnTo>
                        <a:pt x="13" y="115"/>
                      </a:lnTo>
                      <a:lnTo>
                        <a:pt x="13" y="116"/>
                      </a:lnTo>
                      <a:lnTo>
                        <a:pt x="16" y="116"/>
                      </a:lnTo>
                      <a:lnTo>
                        <a:pt x="16" y="118"/>
                      </a:lnTo>
                      <a:lnTo>
                        <a:pt x="19" y="118"/>
                      </a:lnTo>
                      <a:lnTo>
                        <a:pt x="19" y="119"/>
                      </a:lnTo>
                      <a:lnTo>
                        <a:pt x="24" y="119"/>
                      </a:lnTo>
                      <a:lnTo>
                        <a:pt x="24" y="121"/>
                      </a:lnTo>
                      <a:lnTo>
                        <a:pt x="31" y="121"/>
                      </a:lnTo>
                      <a:lnTo>
                        <a:pt x="31" y="123"/>
                      </a:lnTo>
                      <a:lnTo>
                        <a:pt x="56" y="123"/>
                      </a:lnTo>
                      <a:lnTo>
                        <a:pt x="56" y="121"/>
                      </a:lnTo>
                      <a:lnTo>
                        <a:pt x="63" y="121"/>
                      </a:lnTo>
                      <a:lnTo>
                        <a:pt x="63" y="119"/>
                      </a:lnTo>
                      <a:lnTo>
                        <a:pt x="68" y="119"/>
                      </a:lnTo>
                      <a:lnTo>
                        <a:pt x="68" y="118"/>
                      </a:lnTo>
                      <a:lnTo>
                        <a:pt x="71" y="118"/>
                      </a:lnTo>
                      <a:lnTo>
                        <a:pt x="71" y="116"/>
                      </a:lnTo>
                      <a:lnTo>
                        <a:pt x="74" y="116"/>
                      </a:lnTo>
                      <a:lnTo>
                        <a:pt x="74" y="115"/>
                      </a:lnTo>
                      <a:lnTo>
                        <a:pt x="78" y="115"/>
                      </a:lnTo>
                      <a:lnTo>
                        <a:pt x="78" y="113"/>
                      </a:lnTo>
                      <a:lnTo>
                        <a:pt x="81" y="111"/>
                      </a:lnTo>
                      <a:lnTo>
                        <a:pt x="84" y="110"/>
                      </a:lnTo>
                      <a:lnTo>
                        <a:pt x="84" y="108"/>
                      </a:lnTo>
                      <a:lnTo>
                        <a:pt x="88" y="106"/>
                      </a:lnTo>
                      <a:lnTo>
                        <a:pt x="88" y="105"/>
                      </a:lnTo>
                      <a:lnTo>
                        <a:pt x="89" y="105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6" y="15"/>
                      </a:lnTo>
                      <a:lnTo>
                        <a:pt x="84" y="15"/>
                      </a:lnTo>
                      <a:lnTo>
                        <a:pt x="83" y="12"/>
                      </a:lnTo>
                      <a:lnTo>
                        <a:pt x="79" y="12"/>
                      </a:lnTo>
                      <a:lnTo>
                        <a:pt x="78" y="9"/>
                      </a:lnTo>
                      <a:lnTo>
                        <a:pt x="74" y="9"/>
                      </a:lnTo>
                      <a:lnTo>
                        <a:pt x="74" y="7"/>
                      </a:lnTo>
                      <a:lnTo>
                        <a:pt x="71" y="7"/>
                      </a:lnTo>
                      <a:lnTo>
                        <a:pt x="71" y="5"/>
                      </a:lnTo>
                      <a:lnTo>
                        <a:pt x="68" y="5"/>
                      </a:lnTo>
                      <a:lnTo>
                        <a:pt x="68" y="4"/>
                      </a:lnTo>
                      <a:lnTo>
                        <a:pt x="63" y="4"/>
                      </a:lnTo>
                      <a:lnTo>
                        <a:pt x="63" y="2"/>
                      </a:lnTo>
                      <a:lnTo>
                        <a:pt x="56" y="2"/>
                      </a:lnTo>
                      <a:lnTo>
                        <a:pt x="56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AA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8" name="Freeform 145">
                  <a:extLst>
                    <a:ext uri="{FF2B5EF4-FFF2-40B4-BE49-F238E27FC236}">
                      <a16:creationId xmlns:a16="http://schemas.microsoft.com/office/drawing/2014/main" id="{239AD7BB-1929-4C60-A4D0-E34A4FD276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09" y="1889"/>
                  <a:ext cx="49" cy="47"/>
                </a:xfrm>
                <a:custGeom>
                  <a:avLst/>
                  <a:gdLst/>
                  <a:ahLst/>
                  <a:cxnLst>
                    <a:cxn ang="0">
                      <a:pos x="40" y="19"/>
                    </a:cxn>
                    <a:cxn ang="0">
                      <a:pos x="40" y="13"/>
                    </a:cxn>
                    <a:cxn ang="0">
                      <a:pos x="39" y="11"/>
                    </a:cxn>
                    <a:cxn ang="0">
                      <a:pos x="39" y="9"/>
                    </a:cxn>
                    <a:cxn ang="0">
                      <a:pos x="37" y="8"/>
                    </a:cxn>
                    <a:cxn ang="0">
                      <a:pos x="37" y="6"/>
                    </a:cxn>
                    <a:cxn ang="0">
                      <a:pos x="35" y="6"/>
                    </a:cxn>
                    <a:cxn ang="0">
                      <a:pos x="35" y="4"/>
                    </a:cxn>
                    <a:cxn ang="0">
                      <a:pos x="34" y="4"/>
                    </a:cxn>
                    <a:cxn ang="0">
                      <a:pos x="34" y="3"/>
                    </a:cxn>
                    <a:cxn ang="0">
                      <a:pos x="32" y="3"/>
                    </a:cxn>
                    <a:cxn ang="0">
                      <a:pos x="30" y="1"/>
                    </a:cxn>
                    <a:cxn ang="0">
                      <a:pos x="29" y="1"/>
                    </a:cxn>
                    <a:cxn ang="0">
                      <a:pos x="27" y="0"/>
                    </a:cxn>
                    <a:cxn ang="0">
                      <a:pos x="14" y="0"/>
                    </a:cxn>
                    <a:cxn ang="0">
                      <a:pos x="12" y="1"/>
                    </a:cxn>
                    <a:cxn ang="0">
                      <a:pos x="10" y="1"/>
                    </a:cxn>
                    <a:cxn ang="0">
                      <a:pos x="9" y="3"/>
                    </a:cxn>
                    <a:cxn ang="0">
                      <a:pos x="7" y="3"/>
                    </a:cxn>
                    <a:cxn ang="0">
                      <a:pos x="7" y="4"/>
                    </a:cxn>
                    <a:cxn ang="0">
                      <a:pos x="5" y="4"/>
                    </a:cxn>
                    <a:cxn ang="0">
                      <a:pos x="5" y="6"/>
                    </a:cxn>
                    <a:cxn ang="0">
                      <a:pos x="4" y="6"/>
                    </a:cxn>
                    <a:cxn ang="0">
                      <a:pos x="4" y="8"/>
                    </a:cxn>
                    <a:cxn ang="0">
                      <a:pos x="2" y="9"/>
                    </a:cxn>
                    <a:cxn ang="0">
                      <a:pos x="2" y="11"/>
                    </a:cxn>
                    <a:cxn ang="0">
                      <a:pos x="0" y="13"/>
                    </a:cxn>
                    <a:cxn ang="0">
                      <a:pos x="0" y="19"/>
                    </a:cxn>
                    <a:cxn ang="0">
                      <a:pos x="0" y="26"/>
                    </a:cxn>
                    <a:cxn ang="0">
                      <a:pos x="2" y="27"/>
                    </a:cxn>
                    <a:cxn ang="0">
                      <a:pos x="2" y="29"/>
                    </a:cxn>
                    <a:cxn ang="0">
                      <a:pos x="4" y="31"/>
                    </a:cxn>
                    <a:cxn ang="0">
                      <a:pos x="4" y="32"/>
                    </a:cxn>
                    <a:cxn ang="0">
                      <a:pos x="5" y="32"/>
                    </a:cxn>
                    <a:cxn ang="0">
                      <a:pos x="5" y="34"/>
                    </a:cxn>
                    <a:cxn ang="0">
                      <a:pos x="7" y="34"/>
                    </a:cxn>
                    <a:cxn ang="0">
                      <a:pos x="7" y="35"/>
                    </a:cxn>
                    <a:cxn ang="0">
                      <a:pos x="9" y="35"/>
                    </a:cxn>
                    <a:cxn ang="0">
                      <a:pos x="10" y="37"/>
                    </a:cxn>
                    <a:cxn ang="0">
                      <a:pos x="12" y="37"/>
                    </a:cxn>
                    <a:cxn ang="0">
                      <a:pos x="14" y="39"/>
                    </a:cxn>
                    <a:cxn ang="0">
                      <a:pos x="27" y="39"/>
                    </a:cxn>
                    <a:cxn ang="0">
                      <a:pos x="29" y="37"/>
                    </a:cxn>
                    <a:cxn ang="0">
                      <a:pos x="30" y="37"/>
                    </a:cxn>
                    <a:cxn ang="0">
                      <a:pos x="32" y="35"/>
                    </a:cxn>
                    <a:cxn ang="0">
                      <a:pos x="34" y="35"/>
                    </a:cxn>
                    <a:cxn ang="0">
                      <a:pos x="34" y="34"/>
                    </a:cxn>
                    <a:cxn ang="0">
                      <a:pos x="35" y="34"/>
                    </a:cxn>
                    <a:cxn ang="0">
                      <a:pos x="35" y="32"/>
                    </a:cxn>
                    <a:cxn ang="0">
                      <a:pos x="37" y="32"/>
                    </a:cxn>
                    <a:cxn ang="0">
                      <a:pos x="37" y="31"/>
                    </a:cxn>
                    <a:cxn ang="0">
                      <a:pos x="39" y="29"/>
                    </a:cxn>
                    <a:cxn ang="0">
                      <a:pos x="39" y="27"/>
                    </a:cxn>
                    <a:cxn ang="0">
                      <a:pos x="40" y="26"/>
                    </a:cxn>
                    <a:cxn ang="0">
                      <a:pos x="40" y="19"/>
                    </a:cxn>
                  </a:cxnLst>
                  <a:rect l="0" t="0" r="r" b="b"/>
                  <a:pathLst>
                    <a:path w="40" h="39">
                      <a:moveTo>
                        <a:pt x="40" y="19"/>
                      </a:moveTo>
                      <a:lnTo>
                        <a:pt x="40" y="13"/>
                      </a:lnTo>
                      <a:lnTo>
                        <a:pt x="39" y="11"/>
                      </a:lnTo>
                      <a:lnTo>
                        <a:pt x="39" y="9"/>
                      </a:lnTo>
                      <a:lnTo>
                        <a:pt x="37" y="8"/>
                      </a:lnTo>
                      <a:lnTo>
                        <a:pt x="37" y="6"/>
                      </a:lnTo>
                      <a:lnTo>
                        <a:pt x="35" y="6"/>
                      </a:lnTo>
                      <a:lnTo>
                        <a:pt x="35" y="4"/>
                      </a:lnTo>
                      <a:lnTo>
                        <a:pt x="34" y="4"/>
                      </a:lnTo>
                      <a:lnTo>
                        <a:pt x="34" y="3"/>
                      </a:lnTo>
                      <a:lnTo>
                        <a:pt x="32" y="3"/>
                      </a:lnTo>
                      <a:lnTo>
                        <a:pt x="30" y="1"/>
                      </a:lnTo>
                      <a:lnTo>
                        <a:pt x="29" y="1"/>
                      </a:lnTo>
                      <a:lnTo>
                        <a:pt x="27" y="0"/>
                      </a:lnTo>
                      <a:lnTo>
                        <a:pt x="14" y="0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4" y="8"/>
                      </a:lnTo>
                      <a:lnTo>
                        <a:pt x="2" y="9"/>
                      </a:lnTo>
                      <a:lnTo>
                        <a:pt x="2" y="11"/>
                      </a:lnTo>
                      <a:lnTo>
                        <a:pt x="0" y="13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2" y="27"/>
                      </a:lnTo>
                      <a:lnTo>
                        <a:pt x="2" y="29"/>
                      </a:lnTo>
                      <a:lnTo>
                        <a:pt x="4" y="31"/>
                      </a:lnTo>
                      <a:lnTo>
                        <a:pt x="4" y="32"/>
                      </a:lnTo>
                      <a:lnTo>
                        <a:pt x="5" y="32"/>
                      </a:lnTo>
                      <a:lnTo>
                        <a:pt x="5" y="34"/>
                      </a:lnTo>
                      <a:lnTo>
                        <a:pt x="7" y="34"/>
                      </a:lnTo>
                      <a:lnTo>
                        <a:pt x="7" y="35"/>
                      </a:lnTo>
                      <a:lnTo>
                        <a:pt x="9" y="35"/>
                      </a:lnTo>
                      <a:lnTo>
                        <a:pt x="10" y="37"/>
                      </a:lnTo>
                      <a:lnTo>
                        <a:pt x="12" y="37"/>
                      </a:lnTo>
                      <a:lnTo>
                        <a:pt x="14" y="39"/>
                      </a:lnTo>
                      <a:lnTo>
                        <a:pt x="27" y="39"/>
                      </a:lnTo>
                      <a:lnTo>
                        <a:pt x="29" y="37"/>
                      </a:lnTo>
                      <a:lnTo>
                        <a:pt x="30" y="37"/>
                      </a:lnTo>
                      <a:lnTo>
                        <a:pt x="32" y="35"/>
                      </a:lnTo>
                      <a:lnTo>
                        <a:pt x="34" y="35"/>
                      </a:lnTo>
                      <a:lnTo>
                        <a:pt x="34" y="34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7" y="32"/>
                      </a:lnTo>
                      <a:lnTo>
                        <a:pt x="37" y="31"/>
                      </a:lnTo>
                      <a:lnTo>
                        <a:pt x="39" y="29"/>
                      </a:lnTo>
                      <a:lnTo>
                        <a:pt x="39" y="27"/>
                      </a:lnTo>
                      <a:lnTo>
                        <a:pt x="40" y="26"/>
                      </a:lnTo>
                      <a:lnTo>
                        <a:pt x="40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9" name="Freeform 146">
                  <a:extLst>
                    <a:ext uri="{FF2B5EF4-FFF2-40B4-BE49-F238E27FC236}">
                      <a16:creationId xmlns:a16="http://schemas.microsoft.com/office/drawing/2014/main" id="{0F8B6713-4042-45E9-B02F-1E4C7597D6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76" y="1746"/>
                  <a:ext cx="116" cy="332"/>
                </a:xfrm>
                <a:custGeom>
                  <a:avLst/>
                  <a:gdLst/>
                  <a:ahLst/>
                  <a:cxnLst>
                    <a:cxn ang="0">
                      <a:pos x="95" y="3"/>
                    </a:cxn>
                    <a:cxn ang="0">
                      <a:pos x="95" y="1"/>
                    </a:cxn>
                    <a:cxn ang="0">
                      <a:pos x="93" y="1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2" y="270"/>
                    </a:cxn>
                    <a:cxn ang="0">
                      <a:pos x="2" y="272"/>
                    </a:cxn>
                    <a:cxn ang="0">
                      <a:pos x="92" y="272"/>
                    </a:cxn>
                    <a:cxn ang="0">
                      <a:pos x="95" y="269"/>
                    </a:cxn>
                    <a:cxn ang="0">
                      <a:pos x="95" y="3"/>
                    </a:cxn>
                    <a:cxn ang="0">
                      <a:pos x="88" y="3"/>
                    </a:cxn>
                    <a:cxn ang="0">
                      <a:pos x="88" y="269"/>
                    </a:cxn>
                    <a:cxn ang="0">
                      <a:pos x="92" y="266"/>
                    </a:cxn>
                    <a:cxn ang="0">
                      <a:pos x="4" y="266"/>
                    </a:cxn>
                    <a:cxn ang="0">
                      <a:pos x="7" y="269"/>
                    </a:cxn>
                    <a:cxn ang="0">
                      <a:pos x="7" y="3"/>
                    </a:cxn>
                    <a:cxn ang="0">
                      <a:pos x="4" y="6"/>
                    </a:cxn>
                    <a:cxn ang="0">
                      <a:pos x="92" y="6"/>
                    </a:cxn>
                    <a:cxn ang="0">
                      <a:pos x="88" y="3"/>
                    </a:cxn>
                    <a:cxn ang="0">
                      <a:pos x="95" y="3"/>
                    </a:cxn>
                  </a:cxnLst>
                  <a:rect l="0" t="0" r="r" b="b"/>
                  <a:pathLst>
                    <a:path w="95" h="272">
                      <a:moveTo>
                        <a:pt x="95" y="3"/>
                      </a:move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2" y="270"/>
                      </a:lnTo>
                      <a:lnTo>
                        <a:pt x="2" y="272"/>
                      </a:lnTo>
                      <a:lnTo>
                        <a:pt x="92" y="272"/>
                      </a:lnTo>
                      <a:lnTo>
                        <a:pt x="95" y="269"/>
                      </a:lnTo>
                      <a:lnTo>
                        <a:pt x="95" y="3"/>
                      </a:lnTo>
                      <a:lnTo>
                        <a:pt x="88" y="3"/>
                      </a:lnTo>
                      <a:lnTo>
                        <a:pt x="88" y="269"/>
                      </a:lnTo>
                      <a:lnTo>
                        <a:pt x="92" y="266"/>
                      </a:lnTo>
                      <a:lnTo>
                        <a:pt x="4" y="266"/>
                      </a:lnTo>
                      <a:lnTo>
                        <a:pt x="7" y="269"/>
                      </a:lnTo>
                      <a:lnTo>
                        <a:pt x="7" y="3"/>
                      </a:lnTo>
                      <a:lnTo>
                        <a:pt x="4" y="6"/>
                      </a:lnTo>
                      <a:lnTo>
                        <a:pt x="92" y="6"/>
                      </a:lnTo>
                      <a:lnTo>
                        <a:pt x="88" y="3"/>
                      </a:lnTo>
                      <a:lnTo>
                        <a:pt x="95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0" name="Freeform 147">
                  <a:extLst>
                    <a:ext uri="{FF2B5EF4-FFF2-40B4-BE49-F238E27FC236}">
                      <a16:creationId xmlns:a16="http://schemas.microsoft.com/office/drawing/2014/main" id="{2C387321-A95B-4DE3-861F-06FEDDC4BE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598" y="1979"/>
                  <a:ext cx="37" cy="8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4"/>
                    </a:cxn>
                    <a:cxn ang="0">
                      <a:pos x="2" y="6"/>
                    </a:cxn>
                    <a:cxn ang="0">
                      <a:pos x="28" y="6"/>
                    </a:cxn>
                    <a:cxn ang="0">
                      <a:pos x="31" y="3"/>
                    </a:cxn>
                    <a:cxn ang="0">
                      <a:pos x="31" y="1"/>
                    </a:cxn>
                    <a:cxn ang="0">
                      <a:pos x="30" y="1"/>
                    </a:cxn>
                    <a:cxn ang="0">
                      <a:pos x="30" y="0"/>
                    </a:cxn>
                    <a:cxn ang="0">
                      <a:pos x="28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1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8" y="6"/>
                      </a:lnTo>
                      <a:lnTo>
                        <a:pt x="31" y="3"/>
                      </a:lnTo>
                      <a:lnTo>
                        <a:pt x="31" y="1"/>
                      </a:lnTo>
                      <a:lnTo>
                        <a:pt x="30" y="1"/>
                      </a:lnTo>
                      <a:lnTo>
                        <a:pt x="30" y="0"/>
                      </a:lnTo>
                      <a:lnTo>
                        <a:pt x="28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1" name="Freeform 148">
                  <a:extLst>
                    <a:ext uri="{FF2B5EF4-FFF2-40B4-BE49-F238E27FC236}">
                      <a16:creationId xmlns:a16="http://schemas.microsoft.com/office/drawing/2014/main" id="{2469C671-14B7-45BC-A65B-665355C504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35" y="1977"/>
                  <a:ext cx="34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25" y="6"/>
                    </a:cxn>
                    <a:cxn ang="0">
                      <a:pos x="28" y="3"/>
                    </a:cxn>
                    <a:cxn ang="0">
                      <a:pos x="28" y="1"/>
                    </a:cxn>
                    <a:cxn ang="0">
                      <a:pos x="26" y="1"/>
                    </a:cxn>
                    <a:cxn ang="0">
                      <a:pos x="26" y="0"/>
                    </a:cxn>
                    <a:cxn ang="0">
                      <a:pos x="25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8" h="6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5" y="6"/>
                      </a:lnTo>
                      <a:lnTo>
                        <a:pt x="28" y="3"/>
                      </a:lnTo>
                      <a:lnTo>
                        <a:pt x="28" y="1"/>
                      </a:lnTo>
                      <a:lnTo>
                        <a:pt x="26" y="1"/>
                      </a:lnTo>
                      <a:lnTo>
                        <a:pt x="26" y="0"/>
                      </a:lnTo>
                      <a:lnTo>
                        <a:pt x="25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2" name="Freeform 149">
                  <a:extLst>
                    <a:ext uri="{FF2B5EF4-FFF2-40B4-BE49-F238E27FC236}">
                      <a16:creationId xmlns:a16="http://schemas.microsoft.com/office/drawing/2014/main" id="{58853433-B46F-4BE6-9EFB-589183758F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41" y="2345"/>
                  <a:ext cx="358" cy="562"/>
                </a:xfrm>
                <a:custGeom>
                  <a:avLst/>
                  <a:gdLst/>
                  <a:ahLst/>
                  <a:cxnLst>
                    <a:cxn ang="0">
                      <a:pos x="258" y="0"/>
                    </a:cxn>
                    <a:cxn ang="0">
                      <a:pos x="0" y="439"/>
                    </a:cxn>
                    <a:cxn ang="0">
                      <a:pos x="37" y="460"/>
                    </a:cxn>
                    <a:cxn ang="0">
                      <a:pos x="294" y="21"/>
                    </a:cxn>
                    <a:cxn ang="0">
                      <a:pos x="258" y="0"/>
                    </a:cxn>
                  </a:cxnLst>
                  <a:rect l="0" t="0" r="r" b="b"/>
                  <a:pathLst>
                    <a:path w="294" h="460">
                      <a:moveTo>
                        <a:pt x="258" y="0"/>
                      </a:moveTo>
                      <a:lnTo>
                        <a:pt x="0" y="439"/>
                      </a:lnTo>
                      <a:lnTo>
                        <a:pt x="37" y="460"/>
                      </a:lnTo>
                      <a:lnTo>
                        <a:pt x="294" y="21"/>
                      </a:lnTo>
                      <a:lnTo>
                        <a:pt x="258" y="0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3" name="Freeform 150">
                  <a:extLst>
                    <a:ext uri="{FF2B5EF4-FFF2-40B4-BE49-F238E27FC236}">
                      <a16:creationId xmlns:a16="http://schemas.microsoft.com/office/drawing/2014/main" id="{BF9A3826-6233-4A5B-A7DA-F9369BD42A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38" y="2342"/>
                  <a:ext cx="365" cy="569"/>
                </a:xfrm>
                <a:custGeom>
                  <a:avLst/>
                  <a:gdLst/>
                  <a:ahLst/>
                  <a:cxnLst>
                    <a:cxn ang="0">
                      <a:pos x="262" y="0"/>
                    </a:cxn>
                    <a:cxn ang="0">
                      <a:pos x="257" y="0"/>
                    </a:cxn>
                    <a:cxn ang="0">
                      <a:pos x="257" y="1"/>
                    </a:cxn>
                    <a:cxn ang="0">
                      <a:pos x="0" y="440"/>
                    </a:cxn>
                    <a:cxn ang="0">
                      <a:pos x="0" y="443"/>
                    </a:cxn>
                    <a:cxn ang="0">
                      <a:pos x="2" y="443"/>
                    </a:cxn>
                    <a:cxn ang="0">
                      <a:pos x="38" y="464"/>
                    </a:cxn>
                    <a:cxn ang="0">
                      <a:pos x="38" y="466"/>
                    </a:cxn>
                    <a:cxn ang="0">
                      <a:pos x="40" y="466"/>
                    </a:cxn>
                    <a:cxn ang="0">
                      <a:pos x="42" y="464"/>
                    </a:cxn>
                    <a:cxn ang="0">
                      <a:pos x="299" y="26"/>
                    </a:cxn>
                    <a:cxn ang="0">
                      <a:pos x="301" y="24"/>
                    </a:cxn>
                    <a:cxn ang="0">
                      <a:pos x="301" y="22"/>
                    </a:cxn>
                    <a:cxn ang="0">
                      <a:pos x="299" y="22"/>
                    </a:cxn>
                    <a:cxn ang="0">
                      <a:pos x="299" y="21"/>
                    </a:cxn>
                    <a:cxn ang="0">
                      <a:pos x="262" y="0"/>
                    </a:cxn>
                    <a:cxn ang="0">
                      <a:pos x="259" y="4"/>
                    </a:cxn>
                    <a:cxn ang="0">
                      <a:pos x="296" y="26"/>
                    </a:cxn>
                    <a:cxn ang="0">
                      <a:pos x="294" y="22"/>
                    </a:cxn>
                    <a:cxn ang="0">
                      <a:pos x="37" y="461"/>
                    </a:cxn>
                    <a:cxn ang="0">
                      <a:pos x="42" y="460"/>
                    </a:cxn>
                    <a:cxn ang="0">
                      <a:pos x="5" y="438"/>
                    </a:cxn>
                    <a:cxn ang="0">
                      <a:pos x="5" y="443"/>
                    </a:cxn>
                    <a:cxn ang="0">
                      <a:pos x="262" y="4"/>
                    </a:cxn>
                    <a:cxn ang="0">
                      <a:pos x="259" y="4"/>
                    </a:cxn>
                    <a:cxn ang="0">
                      <a:pos x="262" y="0"/>
                    </a:cxn>
                  </a:cxnLst>
                  <a:rect l="0" t="0" r="r" b="b"/>
                  <a:pathLst>
                    <a:path w="301" h="466">
                      <a:moveTo>
                        <a:pt x="262" y="0"/>
                      </a:moveTo>
                      <a:lnTo>
                        <a:pt x="257" y="0"/>
                      </a:lnTo>
                      <a:lnTo>
                        <a:pt x="257" y="1"/>
                      </a:lnTo>
                      <a:lnTo>
                        <a:pt x="0" y="440"/>
                      </a:lnTo>
                      <a:lnTo>
                        <a:pt x="0" y="443"/>
                      </a:lnTo>
                      <a:lnTo>
                        <a:pt x="2" y="443"/>
                      </a:lnTo>
                      <a:lnTo>
                        <a:pt x="38" y="464"/>
                      </a:lnTo>
                      <a:lnTo>
                        <a:pt x="38" y="466"/>
                      </a:lnTo>
                      <a:lnTo>
                        <a:pt x="40" y="466"/>
                      </a:lnTo>
                      <a:lnTo>
                        <a:pt x="42" y="464"/>
                      </a:lnTo>
                      <a:lnTo>
                        <a:pt x="299" y="26"/>
                      </a:lnTo>
                      <a:lnTo>
                        <a:pt x="301" y="24"/>
                      </a:lnTo>
                      <a:lnTo>
                        <a:pt x="301" y="22"/>
                      </a:lnTo>
                      <a:lnTo>
                        <a:pt x="299" y="22"/>
                      </a:lnTo>
                      <a:lnTo>
                        <a:pt x="299" y="21"/>
                      </a:lnTo>
                      <a:lnTo>
                        <a:pt x="262" y="0"/>
                      </a:lnTo>
                      <a:lnTo>
                        <a:pt x="259" y="4"/>
                      </a:lnTo>
                      <a:lnTo>
                        <a:pt x="296" y="26"/>
                      </a:lnTo>
                      <a:lnTo>
                        <a:pt x="294" y="22"/>
                      </a:lnTo>
                      <a:lnTo>
                        <a:pt x="37" y="461"/>
                      </a:lnTo>
                      <a:lnTo>
                        <a:pt x="42" y="460"/>
                      </a:lnTo>
                      <a:lnTo>
                        <a:pt x="5" y="438"/>
                      </a:lnTo>
                      <a:lnTo>
                        <a:pt x="5" y="443"/>
                      </a:lnTo>
                      <a:lnTo>
                        <a:pt x="262" y="4"/>
                      </a:lnTo>
                      <a:lnTo>
                        <a:pt x="259" y="4"/>
                      </a:lnTo>
                      <a:lnTo>
                        <a:pt x="262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4" name="Freeform 151">
                  <a:extLst>
                    <a:ext uri="{FF2B5EF4-FFF2-40B4-BE49-F238E27FC236}">
                      <a16:creationId xmlns:a16="http://schemas.microsoft.com/office/drawing/2014/main" id="{C543E96E-26DF-4624-9FAD-B4642D54DA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78" y="1947"/>
                  <a:ext cx="360" cy="558"/>
                </a:xfrm>
                <a:custGeom>
                  <a:avLst/>
                  <a:gdLst/>
                  <a:ahLst/>
                  <a:cxnLst>
                    <a:cxn ang="0">
                      <a:pos x="257" y="0"/>
                    </a:cxn>
                    <a:cxn ang="0">
                      <a:pos x="0" y="437"/>
                    </a:cxn>
                    <a:cxn ang="0">
                      <a:pos x="38" y="457"/>
                    </a:cxn>
                    <a:cxn ang="0">
                      <a:pos x="296" y="22"/>
                    </a:cxn>
                    <a:cxn ang="0">
                      <a:pos x="257" y="0"/>
                    </a:cxn>
                  </a:cxnLst>
                  <a:rect l="0" t="0" r="r" b="b"/>
                  <a:pathLst>
                    <a:path w="296" h="457">
                      <a:moveTo>
                        <a:pt x="257" y="0"/>
                      </a:moveTo>
                      <a:lnTo>
                        <a:pt x="0" y="437"/>
                      </a:lnTo>
                      <a:lnTo>
                        <a:pt x="38" y="457"/>
                      </a:lnTo>
                      <a:lnTo>
                        <a:pt x="296" y="22"/>
                      </a:lnTo>
                      <a:lnTo>
                        <a:pt x="257" y="0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5" name="Freeform 152">
                  <a:extLst>
                    <a:ext uri="{FF2B5EF4-FFF2-40B4-BE49-F238E27FC236}">
                      <a16:creationId xmlns:a16="http://schemas.microsoft.com/office/drawing/2014/main" id="{C2CE3F63-CD8C-4609-ADE7-F9A7D084B9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74" y="1944"/>
                  <a:ext cx="367" cy="566"/>
                </a:xfrm>
                <a:custGeom>
                  <a:avLst/>
                  <a:gdLst/>
                  <a:ahLst/>
                  <a:cxnLst>
                    <a:cxn ang="0">
                      <a:pos x="262" y="0"/>
                    </a:cxn>
                    <a:cxn ang="0">
                      <a:pos x="257" y="0"/>
                    </a:cxn>
                    <a:cxn ang="0">
                      <a:pos x="257" y="2"/>
                    </a:cxn>
                    <a:cxn ang="0">
                      <a:pos x="0" y="439"/>
                    </a:cxn>
                    <a:cxn ang="0">
                      <a:pos x="0" y="442"/>
                    </a:cxn>
                    <a:cxn ang="0">
                      <a:pos x="1" y="442"/>
                    </a:cxn>
                    <a:cxn ang="0">
                      <a:pos x="39" y="462"/>
                    </a:cxn>
                    <a:cxn ang="0">
                      <a:pos x="39" y="463"/>
                    </a:cxn>
                    <a:cxn ang="0">
                      <a:pos x="41" y="463"/>
                    </a:cxn>
                    <a:cxn ang="0">
                      <a:pos x="43" y="462"/>
                    </a:cxn>
                    <a:cxn ang="0">
                      <a:pos x="300" y="26"/>
                    </a:cxn>
                    <a:cxn ang="0">
                      <a:pos x="302" y="25"/>
                    </a:cxn>
                    <a:cxn ang="0">
                      <a:pos x="302" y="23"/>
                    </a:cxn>
                    <a:cxn ang="0">
                      <a:pos x="300" y="23"/>
                    </a:cxn>
                    <a:cxn ang="0">
                      <a:pos x="300" y="21"/>
                    </a:cxn>
                    <a:cxn ang="0">
                      <a:pos x="262" y="0"/>
                    </a:cxn>
                    <a:cxn ang="0">
                      <a:pos x="259" y="5"/>
                    </a:cxn>
                    <a:cxn ang="0">
                      <a:pos x="297" y="26"/>
                    </a:cxn>
                    <a:cxn ang="0">
                      <a:pos x="295" y="23"/>
                    </a:cxn>
                    <a:cxn ang="0">
                      <a:pos x="38" y="458"/>
                    </a:cxn>
                    <a:cxn ang="0">
                      <a:pos x="43" y="457"/>
                    </a:cxn>
                    <a:cxn ang="0">
                      <a:pos x="5" y="437"/>
                    </a:cxn>
                    <a:cxn ang="0">
                      <a:pos x="5" y="442"/>
                    </a:cxn>
                    <a:cxn ang="0">
                      <a:pos x="262" y="5"/>
                    </a:cxn>
                    <a:cxn ang="0">
                      <a:pos x="259" y="5"/>
                    </a:cxn>
                    <a:cxn ang="0">
                      <a:pos x="262" y="0"/>
                    </a:cxn>
                  </a:cxnLst>
                  <a:rect l="0" t="0" r="r" b="b"/>
                  <a:pathLst>
                    <a:path w="302" h="463">
                      <a:moveTo>
                        <a:pt x="262" y="0"/>
                      </a:moveTo>
                      <a:lnTo>
                        <a:pt x="257" y="0"/>
                      </a:lnTo>
                      <a:lnTo>
                        <a:pt x="257" y="2"/>
                      </a:lnTo>
                      <a:lnTo>
                        <a:pt x="0" y="439"/>
                      </a:lnTo>
                      <a:lnTo>
                        <a:pt x="0" y="442"/>
                      </a:lnTo>
                      <a:lnTo>
                        <a:pt x="1" y="442"/>
                      </a:lnTo>
                      <a:lnTo>
                        <a:pt x="39" y="462"/>
                      </a:lnTo>
                      <a:lnTo>
                        <a:pt x="39" y="463"/>
                      </a:lnTo>
                      <a:lnTo>
                        <a:pt x="41" y="463"/>
                      </a:lnTo>
                      <a:lnTo>
                        <a:pt x="43" y="462"/>
                      </a:lnTo>
                      <a:lnTo>
                        <a:pt x="300" y="26"/>
                      </a:lnTo>
                      <a:lnTo>
                        <a:pt x="302" y="25"/>
                      </a:lnTo>
                      <a:lnTo>
                        <a:pt x="302" y="23"/>
                      </a:lnTo>
                      <a:lnTo>
                        <a:pt x="300" y="23"/>
                      </a:lnTo>
                      <a:lnTo>
                        <a:pt x="300" y="21"/>
                      </a:lnTo>
                      <a:lnTo>
                        <a:pt x="262" y="0"/>
                      </a:lnTo>
                      <a:lnTo>
                        <a:pt x="259" y="5"/>
                      </a:lnTo>
                      <a:lnTo>
                        <a:pt x="297" y="26"/>
                      </a:lnTo>
                      <a:lnTo>
                        <a:pt x="295" y="23"/>
                      </a:lnTo>
                      <a:lnTo>
                        <a:pt x="38" y="458"/>
                      </a:lnTo>
                      <a:lnTo>
                        <a:pt x="43" y="457"/>
                      </a:lnTo>
                      <a:lnTo>
                        <a:pt x="5" y="437"/>
                      </a:lnTo>
                      <a:lnTo>
                        <a:pt x="5" y="442"/>
                      </a:lnTo>
                      <a:lnTo>
                        <a:pt x="262" y="5"/>
                      </a:lnTo>
                      <a:lnTo>
                        <a:pt x="259" y="5"/>
                      </a:lnTo>
                      <a:lnTo>
                        <a:pt x="262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6" name="Freeform 153">
                  <a:extLst>
                    <a:ext uri="{FF2B5EF4-FFF2-40B4-BE49-F238E27FC236}">
                      <a16:creationId xmlns:a16="http://schemas.microsoft.com/office/drawing/2014/main" id="{26A097FB-BD9E-4336-97CC-2DEE3FD0BF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81" y="2337"/>
                  <a:ext cx="360" cy="562"/>
                </a:xfrm>
                <a:custGeom>
                  <a:avLst/>
                  <a:gdLst/>
                  <a:ahLst/>
                  <a:cxnLst>
                    <a:cxn ang="0">
                      <a:pos x="297" y="437"/>
                    </a:cxn>
                    <a:cxn ang="0">
                      <a:pos x="40" y="0"/>
                    </a:cxn>
                    <a:cxn ang="0">
                      <a:pos x="0" y="23"/>
                    </a:cxn>
                    <a:cxn ang="0">
                      <a:pos x="256" y="460"/>
                    </a:cxn>
                    <a:cxn ang="0">
                      <a:pos x="297" y="437"/>
                    </a:cxn>
                  </a:cxnLst>
                  <a:rect l="0" t="0" r="r" b="b"/>
                  <a:pathLst>
                    <a:path w="297" h="460">
                      <a:moveTo>
                        <a:pt x="297" y="437"/>
                      </a:moveTo>
                      <a:lnTo>
                        <a:pt x="40" y="0"/>
                      </a:lnTo>
                      <a:lnTo>
                        <a:pt x="0" y="23"/>
                      </a:lnTo>
                      <a:lnTo>
                        <a:pt x="256" y="460"/>
                      </a:lnTo>
                      <a:lnTo>
                        <a:pt x="297" y="437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7" name="Freeform 154">
                  <a:extLst>
                    <a:ext uri="{FF2B5EF4-FFF2-40B4-BE49-F238E27FC236}">
                      <a16:creationId xmlns:a16="http://schemas.microsoft.com/office/drawing/2014/main" id="{5800E58D-F1EE-406B-B692-9D75881A21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577" y="2334"/>
                  <a:ext cx="369" cy="569"/>
                </a:xfrm>
                <a:custGeom>
                  <a:avLst/>
                  <a:gdLst/>
                  <a:ahLst/>
                  <a:cxnLst>
                    <a:cxn ang="0">
                      <a:pos x="302" y="442"/>
                    </a:cxn>
                    <a:cxn ang="0">
                      <a:pos x="304" y="440"/>
                    </a:cxn>
                    <a:cxn ang="0">
                      <a:pos x="304" y="439"/>
                    </a:cxn>
                    <a:cxn ang="0">
                      <a:pos x="302" y="439"/>
                    </a:cxn>
                    <a:cxn ang="0">
                      <a:pos x="45" y="2"/>
                    </a:cxn>
                    <a:cxn ang="0">
                      <a:pos x="45" y="0"/>
                    </a:cxn>
                    <a:cxn ang="0">
                      <a:pos x="41" y="0"/>
                    </a:cxn>
                    <a:cxn ang="0">
                      <a:pos x="1" y="23"/>
                    </a:cxn>
                    <a:cxn ang="0">
                      <a:pos x="0" y="23"/>
                    </a:cxn>
                    <a:cxn ang="0">
                      <a:pos x="0" y="28"/>
                    </a:cxn>
                    <a:cxn ang="0">
                      <a:pos x="256" y="465"/>
                    </a:cxn>
                    <a:cxn ang="0">
                      <a:pos x="257" y="465"/>
                    </a:cxn>
                    <a:cxn ang="0">
                      <a:pos x="257" y="466"/>
                    </a:cxn>
                    <a:cxn ang="0">
                      <a:pos x="259" y="466"/>
                    </a:cxn>
                    <a:cxn ang="0">
                      <a:pos x="260" y="465"/>
                    </a:cxn>
                    <a:cxn ang="0">
                      <a:pos x="302" y="442"/>
                    </a:cxn>
                    <a:cxn ang="0">
                      <a:pos x="299" y="437"/>
                    </a:cxn>
                    <a:cxn ang="0">
                      <a:pos x="257" y="460"/>
                    </a:cxn>
                    <a:cxn ang="0">
                      <a:pos x="260" y="461"/>
                    </a:cxn>
                    <a:cxn ang="0">
                      <a:pos x="5" y="24"/>
                    </a:cxn>
                    <a:cxn ang="0">
                      <a:pos x="5" y="28"/>
                    </a:cxn>
                    <a:cxn ang="0">
                      <a:pos x="45" y="5"/>
                    </a:cxn>
                    <a:cxn ang="0">
                      <a:pos x="40" y="5"/>
                    </a:cxn>
                    <a:cxn ang="0">
                      <a:pos x="297" y="442"/>
                    </a:cxn>
                    <a:cxn ang="0">
                      <a:pos x="299" y="437"/>
                    </a:cxn>
                    <a:cxn ang="0">
                      <a:pos x="302" y="442"/>
                    </a:cxn>
                  </a:cxnLst>
                  <a:rect l="0" t="0" r="r" b="b"/>
                  <a:pathLst>
                    <a:path w="304" h="466">
                      <a:moveTo>
                        <a:pt x="302" y="442"/>
                      </a:moveTo>
                      <a:lnTo>
                        <a:pt x="304" y="440"/>
                      </a:lnTo>
                      <a:lnTo>
                        <a:pt x="304" y="439"/>
                      </a:lnTo>
                      <a:lnTo>
                        <a:pt x="302" y="439"/>
                      </a:lnTo>
                      <a:lnTo>
                        <a:pt x="45" y="2"/>
                      </a:lnTo>
                      <a:lnTo>
                        <a:pt x="45" y="0"/>
                      </a:lnTo>
                      <a:lnTo>
                        <a:pt x="41" y="0"/>
                      </a:lnTo>
                      <a:lnTo>
                        <a:pt x="1" y="23"/>
                      </a:lnTo>
                      <a:lnTo>
                        <a:pt x="0" y="23"/>
                      </a:lnTo>
                      <a:lnTo>
                        <a:pt x="0" y="28"/>
                      </a:lnTo>
                      <a:lnTo>
                        <a:pt x="256" y="465"/>
                      </a:lnTo>
                      <a:lnTo>
                        <a:pt x="257" y="465"/>
                      </a:lnTo>
                      <a:lnTo>
                        <a:pt x="257" y="466"/>
                      </a:lnTo>
                      <a:lnTo>
                        <a:pt x="259" y="466"/>
                      </a:lnTo>
                      <a:lnTo>
                        <a:pt x="260" y="465"/>
                      </a:lnTo>
                      <a:lnTo>
                        <a:pt x="302" y="442"/>
                      </a:lnTo>
                      <a:lnTo>
                        <a:pt x="299" y="437"/>
                      </a:lnTo>
                      <a:lnTo>
                        <a:pt x="257" y="460"/>
                      </a:lnTo>
                      <a:lnTo>
                        <a:pt x="260" y="461"/>
                      </a:lnTo>
                      <a:lnTo>
                        <a:pt x="5" y="24"/>
                      </a:lnTo>
                      <a:lnTo>
                        <a:pt x="5" y="28"/>
                      </a:lnTo>
                      <a:lnTo>
                        <a:pt x="45" y="5"/>
                      </a:lnTo>
                      <a:lnTo>
                        <a:pt x="40" y="5"/>
                      </a:lnTo>
                      <a:lnTo>
                        <a:pt x="297" y="442"/>
                      </a:lnTo>
                      <a:lnTo>
                        <a:pt x="299" y="437"/>
                      </a:lnTo>
                      <a:lnTo>
                        <a:pt x="302" y="442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8" name="Freeform 155">
                  <a:extLst>
                    <a:ext uri="{FF2B5EF4-FFF2-40B4-BE49-F238E27FC236}">
                      <a16:creationId xmlns:a16="http://schemas.microsoft.com/office/drawing/2014/main" id="{8C4C1151-3215-478E-BEBF-00B1D4151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44" y="1936"/>
                  <a:ext cx="360" cy="562"/>
                </a:xfrm>
                <a:custGeom>
                  <a:avLst/>
                  <a:gdLst/>
                  <a:ahLst/>
                  <a:cxnLst>
                    <a:cxn ang="0">
                      <a:pos x="297" y="438"/>
                    </a:cxn>
                    <a:cxn ang="0">
                      <a:pos x="40" y="0"/>
                    </a:cxn>
                    <a:cxn ang="0">
                      <a:pos x="0" y="22"/>
                    </a:cxn>
                    <a:cxn ang="0">
                      <a:pos x="257" y="460"/>
                    </a:cxn>
                    <a:cxn ang="0">
                      <a:pos x="297" y="438"/>
                    </a:cxn>
                  </a:cxnLst>
                  <a:rect l="0" t="0" r="r" b="b"/>
                  <a:pathLst>
                    <a:path w="297" h="460">
                      <a:moveTo>
                        <a:pt x="297" y="438"/>
                      </a:moveTo>
                      <a:lnTo>
                        <a:pt x="40" y="0"/>
                      </a:lnTo>
                      <a:lnTo>
                        <a:pt x="0" y="22"/>
                      </a:lnTo>
                      <a:lnTo>
                        <a:pt x="257" y="460"/>
                      </a:lnTo>
                      <a:lnTo>
                        <a:pt x="297" y="438"/>
                      </a:lnTo>
                      <a:close/>
                    </a:path>
                  </a:pathLst>
                </a:custGeom>
                <a:solidFill>
                  <a:srgbClr val="00B3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9" name="Freeform 156">
                  <a:extLst>
                    <a:ext uri="{FF2B5EF4-FFF2-40B4-BE49-F238E27FC236}">
                      <a16:creationId xmlns:a16="http://schemas.microsoft.com/office/drawing/2014/main" id="{BB22D321-C4C4-4A32-9C44-58BAC1DF66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138" y="1932"/>
                  <a:ext cx="369" cy="570"/>
                </a:xfrm>
                <a:custGeom>
                  <a:avLst/>
                  <a:gdLst/>
                  <a:ahLst/>
                  <a:cxnLst>
                    <a:cxn ang="0">
                      <a:pos x="303" y="444"/>
                    </a:cxn>
                    <a:cxn ang="0">
                      <a:pos x="304" y="442"/>
                    </a:cxn>
                    <a:cxn ang="0">
                      <a:pos x="304" y="441"/>
                    </a:cxn>
                    <a:cxn ang="0">
                      <a:pos x="303" y="441"/>
                    </a:cxn>
                    <a:cxn ang="0">
                      <a:pos x="45" y="2"/>
                    </a:cxn>
                    <a:cxn ang="0">
                      <a:pos x="45" y="0"/>
                    </a:cxn>
                    <a:cxn ang="0">
                      <a:pos x="42" y="0"/>
                    </a:cxn>
                    <a:cxn ang="0">
                      <a:pos x="2" y="23"/>
                    </a:cxn>
                    <a:cxn ang="0">
                      <a:pos x="0" y="23"/>
                    </a:cxn>
                    <a:cxn ang="0">
                      <a:pos x="0" y="28"/>
                    </a:cxn>
                    <a:cxn ang="0">
                      <a:pos x="258" y="465"/>
                    </a:cxn>
                    <a:cxn ang="0">
                      <a:pos x="259" y="465"/>
                    </a:cxn>
                    <a:cxn ang="0">
                      <a:pos x="259" y="467"/>
                    </a:cxn>
                    <a:cxn ang="0">
                      <a:pos x="261" y="467"/>
                    </a:cxn>
                    <a:cxn ang="0">
                      <a:pos x="263" y="465"/>
                    </a:cxn>
                    <a:cxn ang="0">
                      <a:pos x="303" y="444"/>
                    </a:cxn>
                    <a:cxn ang="0">
                      <a:pos x="299" y="439"/>
                    </a:cxn>
                    <a:cxn ang="0">
                      <a:pos x="259" y="460"/>
                    </a:cxn>
                    <a:cxn ang="0">
                      <a:pos x="263" y="462"/>
                    </a:cxn>
                    <a:cxn ang="0">
                      <a:pos x="5" y="25"/>
                    </a:cxn>
                    <a:cxn ang="0">
                      <a:pos x="5" y="28"/>
                    </a:cxn>
                    <a:cxn ang="0">
                      <a:pos x="45" y="5"/>
                    </a:cxn>
                    <a:cxn ang="0">
                      <a:pos x="40" y="5"/>
                    </a:cxn>
                    <a:cxn ang="0">
                      <a:pos x="298" y="444"/>
                    </a:cxn>
                    <a:cxn ang="0">
                      <a:pos x="299" y="439"/>
                    </a:cxn>
                    <a:cxn ang="0">
                      <a:pos x="303" y="444"/>
                    </a:cxn>
                  </a:cxnLst>
                  <a:rect l="0" t="0" r="r" b="b"/>
                  <a:pathLst>
                    <a:path w="304" h="467">
                      <a:moveTo>
                        <a:pt x="303" y="444"/>
                      </a:moveTo>
                      <a:lnTo>
                        <a:pt x="304" y="442"/>
                      </a:lnTo>
                      <a:lnTo>
                        <a:pt x="304" y="441"/>
                      </a:lnTo>
                      <a:lnTo>
                        <a:pt x="303" y="441"/>
                      </a:lnTo>
                      <a:lnTo>
                        <a:pt x="45" y="2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0" y="28"/>
                      </a:lnTo>
                      <a:lnTo>
                        <a:pt x="258" y="465"/>
                      </a:lnTo>
                      <a:lnTo>
                        <a:pt x="259" y="465"/>
                      </a:lnTo>
                      <a:lnTo>
                        <a:pt x="259" y="467"/>
                      </a:lnTo>
                      <a:lnTo>
                        <a:pt x="261" y="467"/>
                      </a:lnTo>
                      <a:lnTo>
                        <a:pt x="263" y="465"/>
                      </a:lnTo>
                      <a:lnTo>
                        <a:pt x="303" y="444"/>
                      </a:lnTo>
                      <a:lnTo>
                        <a:pt x="299" y="439"/>
                      </a:lnTo>
                      <a:lnTo>
                        <a:pt x="259" y="460"/>
                      </a:lnTo>
                      <a:lnTo>
                        <a:pt x="263" y="462"/>
                      </a:lnTo>
                      <a:lnTo>
                        <a:pt x="5" y="25"/>
                      </a:lnTo>
                      <a:lnTo>
                        <a:pt x="5" y="28"/>
                      </a:lnTo>
                      <a:lnTo>
                        <a:pt x="45" y="5"/>
                      </a:lnTo>
                      <a:lnTo>
                        <a:pt x="40" y="5"/>
                      </a:lnTo>
                      <a:lnTo>
                        <a:pt x="298" y="444"/>
                      </a:lnTo>
                      <a:lnTo>
                        <a:pt x="299" y="439"/>
                      </a:lnTo>
                      <a:lnTo>
                        <a:pt x="303" y="444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0" name="Rectangle 157">
                  <a:extLst>
                    <a:ext uri="{FF2B5EF4-FFF2-40B4-BE49-F238E27FC236}">
                      <a16:creationId xmlns:a16="http://schemas.microsoft.com/office/drawing/2014/main" id="{F20DD3D2-CB83-4267-97B2-E3054BB3D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3261" y="2357"/>
                  <a:ext cx="749" cy="128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1" name="Freeform 158">
                  <a:extLst>
                    <a:ext uri="{FF2B5EF4-FFF2-40B4-BE49-F238E27FC236}">
                      <a16:creationId xmlns:a16="http://schemas.microsoft.com/office/drawing/2014/main" id="{490EEAC5-CA6D-4728-8C17-95072CDE54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258" y="2353"/>
                  <a:ext cx="755" cy="136"/>
                </a:xfrm>
                <a:custGeom>
                  <a:avLst/>
                  <a:gdLst/>
                  <a:ahLst/>
                  <a:cxnLst>
                    <a:cxn ang="0">
                      <a:pos x="622" y="3"/>
                    </a:cxn>
                    <a:cxn ang="0">
                      <a:pos x="622" y="2"/>
                    </a:cxn>
                    <a:cxn ang="0">
                      <a:pos x="621" y="2"/>
                    </a:cxn>
                    <a:cxn ang="0">
                      <a:pos x="621" y="0"/>
                    </a:cxn>
                    <a:cxn ang="0">
                      <a:pos x="0" y="0"/>
                    </a:cxn>
                    <a:cxn ang="0">
                      <a:pos x="0" y="109"/>
                    </a:cxn>
                    <a:cxn ang="0">
                      <a:pos x="1" y="109"/>
                    </a:cxn>
                    <a:cxn ang="0">
                      <a:pos x="1" y="111"/>
                    </a:cxn>
                    <a:cxn ang="0">
                      <a:pos x="619" y="111"/>
                    </a:cxn>
                    <a:cxn ang="0">
                      <a:pos x="622" y="108"/>
                    </a:cxn>
                    <a:cxn ang="0">
                      <a:pos x="622" y="3"/>
                    </a:cxn>
                    <a:cxn ang="0">
                      <a:pos x="616" y="3"/>
                    </a:cxn>
                    <a:cxn ang="0">
                      <a:pos x="616" y="108"/>
                    </a:cxn>
                    <a:cxn ang="0">
                      <a:pos x="619" y="104"/>
                    </a:cxn>
                    <a:cxn ang="0">
                      <a:pos x="3" y="104"/>
                    </a:cxn>
                    <a:cxn ang="0">
                      <a:pos x="6" y="108"/>
                    </a:cxn>
                    <a:cxn ang="0">
                      <a:pos x="6" y="3"/>
                    </a:cxn>
                    <a:cxn ang="0">
                      <a:pos x="3" y="7"/>
                    </a:cxn>
                    <a:cxn ang="0">
                      <a:pos x="619" y="7"/>
                    </a:cxn>
                    <a:cxn ang="0">
                      <a:pos x="616" y="3"/>
                    </a:cxn>
                    <a:cxn ang="0">
                      <a:pos x="622" y="3"/>
                    </a:cxn>
                  </a:cxnLst>
                  <a:rect l="0" t="0" r="r" b="b"/>
                  <a:pathLst>
                    <a:path w="622" h="111">
                      <a:moveTo>
                        <a:pt x="622" y="3"/>
                      </a:moveTo>
                      <a:lnTo>
                        <a:pt x="622" y="2"/>
                      </a:lnTo>
                      <a:lnTo>
                        <a:pt x="621" y="2"/>
                      </a:lnTo>
                      <a:lnTo>
                        <a:pt x="621" y="0"/>
                      </a:ln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1" y="109"/>
                      </a:lnTo>
                      <a:lnTo>
                        <a:pt x="1" y="111"/>
                      </a:lnTo>
                      <a:lnTo>
                        <a:pt x="619" y="111"/>
                      </a:lnTo>
                      <a:lnTo>
                        <a:pt x="622" y="108"/>
                      </a:lnTo>
                      <a:lnTo>
                        <a:pt x="622" y="3"/>
                      </a:lnTo>
                      <a:lnTo>
                        <a:pt x="616" y="3"/>
                      </a:lnTo>
                      <a:lnTo>
                        <a:pt x="616" y="108"/>
                      </a:lnTo>
                      <a:lnTo>
                        <a:pt x="619" y="104"/>
                      </a:lnTo>
                      <a:lnTo>
                        <a:pt x="3" y="104"/>
                      </a:lnTo>
                      <a:lnTo>
                        <a:pt x="6" y="108"/>
                      </a:lnTo>
                      <a:lnTo>
                        <a:pt x="6" y="3"/>
                      </a:lnTo>
                      <a:lnTo>
                        <a:pt x="3" y="7"/>
                      </a:lnTo>
                      <a:lnTo>
                        <a:pt x="619" y="7"/>
                      </a:lnTo>
                      <a:lnTo>
                        <a:pt x="616" y="3"/>
                      </a:lnTo>
                      <a:lnTo>
                        <a:pt x="622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2" name="Rectangle 159">
                  <a:extLst>
                    <a:ext uri="{FF2B5EF4-FFF2-40B4-BE49-F238E27FC236}">
                      <a16:creationId xmlns:a16="http://schemas.microsoft.com/office/drawing/2014/main" id="{7994F3A0-EFE3-4D4E-81AC-AFA9A104CD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665" y="2388"/>
                  <a:ext cx="752" cy="61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3" name="Freeform 160">
                  <a:extLst>
                    <a:ext uri="{FF2B5EF4-FFF2-40B4-BE49-F238E27FC236}">
                      <a16:creationId xmlns:a16="http://schemas.microsoft.com/office/drawing/2014/main" id="{00D75024-E8B7-4933-8B7C-04C5732F1C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660" y="2383"/>
                  <a:ext cx="760" cy="70"/>
                </a:xfrm>
                <a:custGeom>
                  <a:avLst/>
                  <a:gdLst/>
                  <a:ahLst/>
                  <a:cxnLst>
                    <a:cxn ang="0">
                      <a:pos x="626" y="4"/>
                    </a:cxn>
                    <a:cxn ang="0">
                      <a:pos x="626" y="2"/>
                    </a:cxn>
                    <a:cxn ang="0">
                      <a:pos x="625" y="2"/>
                    </a:cxn>
                    <a:cxn ang="0">
                      <a:pos x="625" y="0"/>
                    </a:cxn>
                    <a:cxn ang="0">
                      <a:pos x="0" y="0"/>
                    </a:cxn>
                    <a:cxn ang="0">
                      <a:pos x="0" y="56"/>
                    </a:cxn>
                    <a:cxn ang="0">
                      <a:pos x="2" y="56"/>
                    </a:cxn>
                    <a:cxn ang="0">
                      <a:pos x="2" y="57"/>
                    </a:cxn>
                    <a:cxn ang="0">
                      <a:pos x="623" y="57"/>
                    </a:cxn>
                    <a:cxn ang="0">
                      <a:pos x="626" y="54"/>
                    </a:cxn>
                    <a:cxn ang="0">
                      <a:pos x="626" y="4"/>
                    </a:cxn>
                    <a:cxn ang="0">
                      <a:pos x="620" y="4"/>
                    </a:cxn>
                    <a:cxn ang="0">
                      <a:pos x="620" y="54"/>
                    </a:cxn>
                    <a:cxn ang="0">
                      <a:pos x="623" y="51"/>
                    </a:cxn>
                    <a:cxn ang="0">
                      <a:pos x="4" y="51"/>
                    </a:cxn>
                    <a:cxn ang="0">
                      <a:pos x="7" y="54"/>
                    </a:cxn>
                    <a:cxn ang="0">
                      <a:pos x="7" y="4"/>
                    </a:cxn>
                    <a:cxn ang="0">
                      <a:pos x="4" y="7"/>
                    </a:cxn>
                    <a:cxn ang="0">
                      <a:pos x="623" y="7"/>
                    </a:cxn>
                    <a:cxn ang="0">
                      <a:pos x="620" y="4"/>
                    </a:cxn>
                    <a:cxn ang="0">
                      <a:pos x="626" y="4"/>
                    </a:cxn>
                  </a:cxnLst>
                  <a:rect l="0" t="0" r="r" b="b"/>
                  <a:pathLst>
                    <a:path w="626" h="57">
                      <a:moveTo>
                        <a:pt x="626" y="4"/>
                      </a:moveTo>
                      <a:lnTo>
                        <a:pt x="626" y="2"/>
                      </a:lnTo>
                      <a:lnTo>
                        <a:pt x="625" y="2"/>
                      </a:lnTo>
                      <a:lnTo>
                        <a:pt x="625" y="0"/>
                      </a:lnTo>
                      <a:lnTo>
                        <a:pt x="0" y="0"/>
                      </a:lnTo>
                      <a:lnTo>
                        <a:pt x="0" y="56"/>
                      </a:lnTo>
                      <a:lnTo>
                        <a:pt x="2" y="56"/>
                      </a:lnTo>
                      <a:lnTo>
                        <a:pt x="2" y="57"/>
                      </a:lnTo>
                      <a:lnTo>
                        <a:pt x="623" y="57"/>
                      </a:lnTo>
                      <a:lnTo>
                        <a:pt x="626" y="54"/>
                      </a:lnTo>
                      <a:lnTo>
                        <a:pt x="626" y="4"/>
                      </a:lnTo>
                      <a:lnTo>
                        <a:pt x="620" y="4"/>
                      </a:lnTo>
                      <a:lnTo>
                        <a:pt x="620" y="54"/>
                      </a:lnTo>
                      <a:lnTo>
                        <a:pt x="623" y="51"/>
                      </a:lnTo>
                      <a:lnTo>
                        <a:pt x="4" y="51"/>
                      </a:lnTo>
                      <a:lnTo>
                        <a:pt x="7" y="54"/>
                      </a:lnTo>
                      <a:lnTo>
                        <a:pt x="7" y="4"/>
                      </a:lnTo>
                      <a:lnTo>
                        <a:pt x="4" y="7"/>
                      </a:lnTo>
                      <a:lnTo>
                        <a:pt x="623" y="7"/>
                      </a:lnTo>
                      <a:lnTo>
                        <a:pt x="620" y="4"/>
                      </a:lnTo>
                      <a:lnTo>
                        <a:pt x="626" y="4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4" name="Rectangle 161">
                  <a:extLst>
                    <a:ext uri="{FF2B5EF4-FFF2-40B4-BE49-F238E27FC236}">
                      <a16:creationId xmlns:a16="http://schemas.microsoft.com/office/drawing/2014/main" id="{97DCD387-0A95-4734-94DF-9A951DF69E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090" y="2357"/>
                  <a:ext cx="749" cy="127"/>
                </a:xfrm>
                <a:prstGeom prst="rect">
                  <a:avLst/>
                </a:prstGeom>
                <a:solidFill>
                  <a:srgbClr val="00B3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5" name="Freeform 162">
                  <a:extLst>
                    <a:ext uri="{FF2B5EF4-FFF2-40B4-BE49-F238E27FC236}">
                      <a16:creationId xmlns:a16="http://schemas.microsoft.com/office/drawing/2014/main" id="{F29DE6F7-3AC2-42E4-B220-50BB51A609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2085" y="2353"/>
                  <a:ext cx="755" cy="135"/>
                </a:xfrm>
                <a:custGeom>
                  <a:avLst/>
                  <a:gdLst/>
                  <a:ahLst/>
                  <a:cxnLst>
                    <a:cxn ang="0">
                      <a:pos x="622" y="3"/>
                    </a:cxn>
                    <a:cxn ang="0">
                      <a:pos x="622" y="1"/>
                    </a:cxn>
                    <a:cxn ang="0">
                      <a:pos x="621" y="1"/>
                    </a:cxn>
                    <a:cxn ang="0">
                      <a:pos x="621" y="0"/>
                    </a:cxn>
                    <a:cxn ang="0">
                      <a:pos x="0" y="0"/>
                    </a:cxn>
                    <a:cxn ang="0">
                      <a:pos x="0" y="109"/>
                    </a:cxn>
                    <a:cxn ang="0">
                      <a:pos x="1" y="109"/>
                    </a:cxn>
                    <a:cxn ang="0">
                      <a:pos x="1" y="111"/>
                    </a:cxn>
                    <a:cxn ang="0">
                      <a:pos x="619" y="111"/>
                    </a:cxn>
                    <a:cxn ang="0">
                      <a:pos x="622" y="107"/>
                    </a:cxn>
                    <a:cxn ang="0">
                      <a:pos x="622" y="3"/>
                    </a:cxn>
                    <a:cxn ang="0">
                      <a:pos x="616" y="3"/>
                    </a:cxn>
                    <a:cxn ang="0">
                      <a:pos x="616" y="107"/>
                    </a:cxn>
                    <a:cxn ang="0">
                      <a:pos x="619" y="104"/>
                    </a:cxn>
                    <a:cxn ang="0">
                      <a:pos x="3" y="104"/>
                    </a:cxn>
                    <a:cxn ang="0">
                      <a:pos x="6" y="107"/>
                    </a:cxn>
                    <a:cxn ang="0">
                      <a:pos x="6" y="3"/>
                    </a:cxn>
                    <a:cxn ang="0">
                      <a:pos x="3" y="6"/>
                    </a:cxn>
                    <a:cxn ang="0">
                      <a:pos x="619" y="6"/>
                    </a:cxn>
                    <a:cxn ang="0">
                      <a:pos x="616" y="3"/>
                    </a:cxn>
                    <a:cxn ang="0">
                      <a:pos x="622" y="3"/>
                    </a:cxn>
                  </a:cxnLst>
                  <a:rect l="0" t="0" r="r" b="b"/>
                  <a:pathLst>
                    <a:path w="622" h="111">
                      <a:moveTo>
                        <a:pt x="622" y="3"/>
                      </a:moveTo>
                      <a:lnTo>
                        <a:pt x="622" y="1"/>
                      </a:lnTo>
                      <a:lnTo>
                        <a:pt x="621" y="1"/>
                      </a:lnTo>
                      <a:lnTo>
                        <a:pt x="621" y="0"/>
                      </a:lnTo>
                      <a:lnTo>
                        <a:pt x="0" y="0"/>
                      </a:lnTo>
                      <a:lnTo>
                        <a:pt x="0" y="109"/>
                      </a:lnTo>
                      <a:lnTo>
                        <a:pt x="1" y="109"/>
                      </a:lnTo>
                      <a:lnTo>
                        <a:pt x="1" y="111"/>
                      </a:lnTo>
                      <a:lnTo>
                        <a:pt x="619" y="111"/>
                      </a:lnTo>
                      <a:lnTo>
                        <a:pt x="622" y="107"/>
                      </a:lnTo>
                      <a:lnTo>
                        <a:pt x="622" y="3"/>
                      </a:lnTo>
                      <a:lnTo>
                        <a:pt x="616" y="3"/>
                      </a:lnTo>
                      <a:lnTo>
                        <a:pt x="616" y="107"/>
                      </a:lnTo>
                      <a:lnTo>
                        <a:pt x="619" y="104"/>
                      </a:lnTo>
                      <a:lnTo>
                        <a:pt x="3" y="104"/>
                      </a:lnTo>
                      <a:lnTo>
                        <a:pt x="6" y="107"/>
                      </a:lnTo>
                      <a:lnTo>
                        <a:pt x="6" y="3"/>
                      </a:lnTo>
                      <a:lnTo>
                        <a:pt x="3" y="6"/>
                      </a:lnTo>
                      <a:lnTo>
                        <a:pt x="619" y="6"/>
                      </a:lnTo>
                      <a:lnTo>
                        <a:pt x="616" y="3"/>
                      </a:lnTo>
                      <a:lnTo>
                        <a:pt x="622" y="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6" name="Freeform 163">
                  <a:extLst>
                    <a:ext uri="{FF2B5EF4-FFF2-40B4-BE49-F238E27FC236}">
                      <a16:creationId xmlns:a16="http://schemas.microsoft.com/office/drawing/2014/main" id="{8A226137-AB8A-46BD-B2AD-7EA1E14F48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477" y="2117"/>
                  <a:ext cx="24" cy="635"/>
                </a:xfrm>
                <a:custGeom>
                  <a:avLst/>
                  <a:gdLst/>
                  <a:ahLst/>
                  <a:cxnLst>
                    <a:cxn ang="0">
                      <a:pos x="20" y="10"/>
                    </a:cxn>
                    <a:cxn ang="0">
                      <a:pos x="19" y="6"/>
                    </a:cxn>
                    <a:cxn ang="0">
                      <a:pos x="19" y="5"/>
                    </a:cxn>
                    <a:cxn ang="0">
                      <a:pos x="17" y="2"/>
                    </a:cxn>
                    <a:cxn ang="0">
                      <a:pos x="15" y="0"/>
                    </a:cxn>
                    <a:cxn ang="0">
                      <a:pos x="5" y="0"/>
                    </a:cxn>
                    <a:cxn ang="0">
                      <a:pos x="2" y="2"/>
                    </a:cxn>
                    <a:cxn ang="0">
                      <a:pos x="0" y="5"/>
                    </a:cxn>
                    <a:cxn ang="0">
                      <a:pos x="0" y="515"/>
                    </a:cxn>
                    <a:cxn ang="0">
                      <a:pos x="2" y="517"/>
                    </a:cxn>
                    <a:cxn ang="0">
                      <a:pos x="5" y="518"/>
                    </a:cxn>
                    <a:cxn ang="0">
                      <a:pos x="7" y="518"/>
                    </a:cxn>
                    <a:cxn ang="0">
                      <a:pos x="10" y="520"/>
                    </a:cxn>
                    <a:cxn ang="0">
                      <a:pos x="12" y="518"/>
                    </a:cxn>
                    <a:cxn ang="0">
                      <a:pos x="15" y="518"/>
                    </a:cxn>
                    <a:cxn ang="0">
                      <a:pos x="19" y="515"/>
                    </a:cxn>
                    <a:cxn ang="0">
                      <a:pos x="19" y="512"/>
                    </a:cxn>
                    <a:cxn ang="0">
                      <a:pos x="20" y="510"/>
                    </a:cxn>
                    <a:cxn ang="0">
                      <a:pos x="20" y="10"/>
                    </a:cxn>
                  </a:cxnLst>
                  <a:rect l="0" t="0" r="r" b="b"/>
                  <a:pathLst>
                    <a:path w="20" h="520">
                      <a:moveTo>
                        <a:pt x="20" y="10"/>
                      </a:move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17" y="2"/>
                      </a:lnTo>
                      <a:lnTo>
                        <a:pt x="15" y="0"/>
                      </a:lnTo>
                      <a:lnTo>
                        <a:pt x="5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0" y="515"/>
                      </a:lnTo>
                      <a:lnTo>
                        <a:pt x="2" y="517"/>
                      </a:lnTo>
                      <a:lnTo>
                        <a:pt x="5" y="518"/>
                      </a:lnTo>
                      <a:lnTo>
                        <a:pt x="7" y="518"/>
                      </a:lnTo>
                      <a:lnTo>
                        <a:pt x="10" y="520"/>
                      </a:lnTo>
                      <a:lnTo>
                        <a:pt x="12" y="518"/>
                      </a:lnTo>
                      <a:lnTo>
                        <a:pt x="15" y="518"/>
                      </a:lnTo>
                      <a:lnTo>
                        <a:pt x="19" y="515"/>
                      </a:lnTo>
                      <a:lnTo>
                        <a:pt x="19" y="512"/>
                      </a:lnTo>
                      <a:lnTo>
                        <a:pt x="20" y="510"/>
                      </a:lnTo>
                      <a:lnTo>
                        <a:pt x="20" y="1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7" name="Freeform 164">
                  <a:extLst>
                    <a:ext uri="{FF2B5EF4-FFF2-40B4-BE49-F238E27FC236}">
                      <a16:creationId xmlns:a16="http://schemas.microsoft.com/office/drawing/2014/main" id="{8F386A60-69A7-46D5-B069-1D6A9F75A5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726" y="2385"/>
                  <a:ext cx="104" cy="103"/>
                </a:xfrm>
                <a:custGeom>
                  <a:avLst/>
                  <a:gdLst/>
                  <a:ahLst/>
                  <a:cxnLst>
                    <a:cxn ang="0">
                      <a:pos x="0" y="85"/>
                    </a:cxn>
                    <a:cxn ang="0">
                      <a:pos x="41" y="0"/>
                    </a:cxn>
                    <a:cxn ang="0">
                      <a:pos x="85" y="85"/>
                    </a:cxn>
                    <a:cxn ang="0">
                      <a:pos x="41" y="62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85" h="85">
                      <a:moveTo>
                        <a:pt x="0" y="85"/>
                      </a:moveTo>
                      <a:lnTo>
                        <a:pt x="41" y="0"/>
                      </a:lnTo>
                      <a:lnTo>
                        <a:pt x="85" y="85"/>
                      </a:lnTo>
                      <a:lnTo>
                        <a:pt x="41" y="62"/>
                      </a:lnTo>
                      <a:lnTo>
                        <a:pt x="0" y="8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8" name="Freeform 165">
                  <a:extLst>
                    <a:ext uri="{FF2B5EF4-FFF2-40B4-BE49-F238E27FC236}">
                      <a16:creationId xmlns:a16="http://schemas.microsoft.com/office/drawing/2014/main" id="{552A410B-F623-42F3-9782-D2C6392D74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699" y="2356"/>
                  <a:ext cx="157" cy="160"/>
                </a:xfrm>
                <a:custGeom>
                  <a:avLst/>
                  <a:gdLst/>
                  <a:ahLst/>
                  <a:cxnLst>
                    <a:cxn ang="0">
                      <a:pos x="18" y="98"/>
                    </a:cxn>
                    <a:cxn ang="0">
                      <a:pos x="31" y="111"/>
                    </a:cxn>
                    <a:cxn ang="0">
                      <a:pos x="73" y="27"/>
                    </a:cxn>
                    <a:cxn ang="0">
                      <a:pos x="54" y="27"/>
                    </a:cxn>
                    <a:cxn ang="0">
                      <a:pos x="98" y="111"/>
                    </a:cxn>
                    <a:cxn ang="0">
                      <a:pos x="111" y="98"/>
                    </a:cxn>
                    <a:cxn ang="0">
                      <a:pos x="64" y="74"/>
                    </a:cxn>
                    <a:cxn ang="0">
                      <a:pos x="18" y="98"/>
                    </a:cxn>
                    <a:cxn ang="0">
                      <a:pos x="0" y="131"/>
                    </a:cxn>
                    <a:cxn ang="0">
                      <a:pos x="69" y="93"/>
                    </a:cxn>
                    <a:cxn ang="0">
                      <a:pos x="59" y="93"/>
                    </a:cxn>
                    <a:cxn ang="0">
                      <a:pos x="129" y="131"/>
                    </a:cxn>
                    <a:cxn ang="0">
                      <a:pos x="64" y="0"/>
                    </a:cxn>
                    <a:cxn ang="0">
                      <a:pos x="0" y="131"/>
                    </a:cxn>
                    <a:cxn ang="0">
                      <a:pos x="18" y="98"/>
                    </a:cxn>
                  </a:cxnLst>
                  <a:rect l="0" t="0" r="r" b="b"/>
                  <a:pathLst>
                    <a:path w="129" h="131">
                      <a:moveTo>
                        <a:pt x="18" y="98"/>
                      </a:moveTo>
                      <a:lnTo>
                        <a:pt x="31" y="111"/>
                      </a:lnTo>
                      <a:lnTo>
                        <a:pt x="73" y="27"/>
                      </a:lnTo>
                      <a:lnTo>
                        <a:pt x="54" y="27"/>
                      </a:lnTo>
                      <a:lnTo>
                        <a:pt x="98" y="111"/>
                      </a:lnTo>
                      <a:lnTo>
                        <a:pt x="111" y="98"/>
                      </a:lnTo>
                      <a:lnTo>
                        <a:pt x="64" y="74"/>
                      </a:lnTo>
                      <a:lnTo>
                        <a:pt x="18" y="98"/>
                      </a:lnTo>
                      <a:lnTo>
                        <a:pt x="0" y="131"/>
                      </a:lnTo>
                      <a:lnTo>
                        <a:pt x="69" y="93"/>
                      </a:lnTo>
                      <a:lnTo>
                        <a:pt x="59" y="93"/>
                      </a:lnTo>
                      <a:lnTo>
                        <a:pt x="129" y="131"/>
                      </a:lnTo>
                      <a:lnTo>
                        <a:pt x="64" y="0"/>
                      </a:lnTo>
                      <a:lnTo>
                        <a:pt x="0" y="131"/>
                      </a:lnTo>
                      <a:lnTo>
                        <a:pt x="18" y="9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9" name="Freeform 166">
                  <a:extLst>
                    <a:ext uri="{FF2B5EF4-FFF2-40B4-BE49-F238E27FC236}">
                      <a16:creationId xmlns:a16="http://schemas.microsoft.com/office/drawing/2014/main" id="{F5580C85-456F-4208-962E-756AC320D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15" y="2486"/>
                  <a:ext cx="91" cy="9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0" y="75"/>
                    </a:cxn>
                    <a:cxn ang="0">
                      <a:pos x="45" y="75"/>
                    </a:cxn>
                    <a:cxn ang="0">
                      <a:pos x="75" y="0"/>
                    </a:cxn>
                    <a:cxn ang="0">
                      <a:pos x="60" y="0"/>
                    </a:cxn>
                    <a:cxn ang="0">
                      <a:pos x="36" y="62"/>
                    </a:cxn>
                    <a:cxn ang="0">
                      <a:pos x="1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5" h="75">
                      <a:moveTo>
                        <a:pt x="0" y="0"/>
                      </a:moveTo>
                      <a:lnTo>
                        <a:pt x="30" y="75"/>
                      </a:lnTo>
                      <a:lnTo>
                        <a:pt x="45" y="75"/>
                      </a:lnTo>
                      <a:lnTo>
                        <a:pt x="75" y="0"/>
                      </a:lnTo>
                      <a:lnTo>
                        <a:pt x="60" y="0"/>
                      </a:lnTo>
                      <a:lnTo>
                        <a:pt x="36" y="62"/>
                      </a:lnTo>
                      <a:lnTo>
                        <a:pt x="1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5" name="Rectangle 167">
                <a:extLst>
                  <a:ext uri="{FF2B5EF4-FFF2-40B4-BE49-F238E27FC236}">
                    <a16:creationId xmlns:a16="http://schemas.microsoft.com/office/drawing/2014/main" id="{0BB87A11-EAAE-4601-85F5-D97ADD8184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057" y="2811"/>
                <a:ext cx="278" cy="3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 168">
                <a:extLst>
                  <a:ext uri="{FF2B5EF4-FFF2-40B4-BE49-F238E27FC236}">
                    <a16:creationId xmlns:a16="http://schemas.microsoft.com/office/drawing/2014/main" id="{EFB3BC22-6DEA-4E38-9973-FA8A0539818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052" y="2808"/>
                <a:ext cx="287" cy="39"/>
              </a:xfrm>
              <a:custGeom>
                <a:avLst/>
                <a:gdLst/>
                <a:ahLst/>
                <a:cxnLst>
                  <a:cxn ang="0">
                    <a:pos x="236" y="3"/>
                  </a:cxn>
                  <a:cxn ang="0">
                    <a:pos x="236" y="1"/>
                  </a:cxn>
                  <a:cxn ang="0">
                    <a:pos x="234" y="1"/>
                  </a:cxn>
                  <a:cxn ang="0">
                    <a:pos x="234" y="0"/>
                  </a:cxn>
                  <a:cxn ang="0">
                    <a:pos x="0" y="0"/>
                  </a:cxn>
                  <a:cxn ang="0">
                    <a:pos x="0" y="31"/>
                  </a:cxn>
                  <a:cxn ang="0">
                    <a:pos x="1" y="31"/>
                  </a:cxn>
                  <a:cxn ang="0">
                    <a:pos x="1" y="32"/>
                  </a:cxn>
                  <a:cxn ang="0">
                    <a:pos x="232" y="32"/>
                  </a:cxn>
                  <a:cxn ang="0">
                    <a:pos x="236" y="29"/>
                  </a:cxn>
                  <a:cxn ang="0">
                    <a:pos x="236" y="3"/>
                  </a:cxn>
                  <a:cxn ang="0">
                    <a:pos x="229" y="3"/>
                  </a:cxn>
                  <a:cxn ang="0">
                    <a:pos x="229" y="29"/>
                  </a:cxn>
                  <a:cxn ang="0">
                    <a:pos x="232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32" y="6"/>
                  </a:cxn>
                  <a:cxn ang="0">
                    <a:pos x="229" y="3"/>
                  </a:cxn>
                  <a:cxn ang="0">
                    <a:pos x="236" y="3"/>
                  </a:cxn>
                </a:cxnLst>
                <a:rect l="0" t="0" r="r" b="b"/>
                <a:pathLst>
                  <a:path w="236" h="32">
                    <a:moveTo>
                      <a:pt x="236" y="3"/>
                    </a:moveTo>
                    <a:lnTo>
                      <a:pt x="236" y="1"/>
                    </a:lnTo>
                    <a:lnTo>
                      <a:pt x="234" y="1"/>
                    </a:lnTo>
                    <a:lnTo>
                      <a:pt x="23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32"/>
                    </a:lnTo>
                    <a:lnTo>
                      <a:pt x="232" y="32"/>
                    </a:lnTo>
                    <a:lnTo>
                      <a:pt x="236" y="29"/>
                    </a:lnTo>
                    <a:lnTo>
                      <a:pt x="236" y="3"/>
                    </a:lnTo>
                    <a:lnTo>
                      <a:pt x="229" y="3"/>
                    </a:lnTo>
                    <a:lnTo>
                      <a:pt x="229" y="29"/>
                    </a:lnTo>
                    <a:lnTo>
                      <a:pt x="232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32" y="6"/>
                    </a:lnTo>
                    <a:lnTo>
                      <a:pt x="229" y="3"/>
                    </a:lnTo>
                    <a:lnTo>
                      <a:pt x="236" y="3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Rectangle 169">
                <a:extLst>
                  <a:ext uri="{FF2B5EF4-FFF2-40B4-BE49-F238E27FC236}">
                    <a16:creationId xmlns:a16="http://schemas.microsoft.com/office/drawing/2014/main" id="{E51517D9-344A-4442-9DF1-D1E644878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055" y="2528"/>
                <a:ext cx="282" cy="3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Freeform 170">
                <a:extLst>
                  <a:ext uri="{FF2B5EF4-FFF2-40B4-BE49-F238E27FC236}">
                    <a16:creationId xmlns:a16="http://schemas.microsoft.com/office/drawing/2014/main" id="{B4A90078-5D09-4C1E-B7BD-4790E330800D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051" y="2525"/>
                <a:ext cx="290" cy="39"/>
              </a:xfrm>
              <a:custGeom>
                <a:avLst/>
                <a:gdLst/>
                <a:ahLst/>
                <a:cxnLst>
                  <a:cxn ang="0">
                    <a:pos x="239" y="3"/>
                  </a:cxn>
                  <a:cxn ang="0">
                    <a:pos x="239" y="1"/>
                  </a:cxn>
                  <a:cxn ang="0">
                    <a:pos x="237" y="1"/>
                  </a:cxn>
                  <a:cxn ang="0">
                    <a:pos x="237" y="0"/>
                  </a:cxn>
                  <a:cxn ang="0">
                    <a:pos x="0" y="0"/>
                  </a:cxn>
                  <a:cxn ang="0">
                    <a:pos x="0" y="31"/>
                  </a:cxn>
                  <a:cxn ang="0">
                    <a:pos x="1" y="31"/>
                  </a:cxn>
                  <a:cxn ang="0">
                    <a:pos x="1" y="32"/>
                  </a:cxn>
                  <a:cxn ang="0">
                    <a:pos x="235" y="32"/>
                  </a:cxn>
                  <a:cxn ang="0">
                    <a:pos x="239" y="29"/>
                  </a:cxn>
                  <a:cxn ang="0">
                    <a:pos x="239" y="3"/>
                  </a:cxn>
                  <a:cxn ang="0">
                    <a:pos x="232" y="3"/>
                  </a:cxn>
                  <a:cxn ang="0">
                    <a:pos x="232" y="29"/>
                  </a:cxn>
                  <a:cxn ang="0">
                    <a:pos x="235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35" y="6"/>
                  </a:cxn>
                  <a:cxn ang="0">
                    <a:pos x="232" y="3"/>
                  </a:cxn>
                  <a:cxn ang="0">
                    <a:pos x="239" y="3"/>
                  </a:cxn>
                </a:cxnLst>
                <a:rect l="0" t="0" r="r" b="b"/>
                <a:pathLst>
                  <a:path w="239" h="32">
                    <a:moveTo>
                      <a:pt x="239" y="3"/>
                    </a:moveTo>
                    <a:lnTo>
                      <a:pt x="239" y="1"/>
                    </a:lnTo>
                    <a:lnTo>
                      <a:pt x="237" y="1"/>
                    </a:lnTo>
                    <a:lnTo>
                      <a:pt x="237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32"/>
                    </a:lnTo>
                    <a:lnTo>
                      <a:pt x="235" y="32"/>
                    </a:lnTo>
                    <a:lnTo>
                      <a:pt x="239" y="29"/>
                    </a:lnTo>
                    <a:lnTo>
                      <a:pt x="239" y="3"/>
                    </a:lnTo>
                    <a:lnTo>
                      <a:pt x="232" y="3"/>
                    </a:lnTo>
                    <a:lnTo>
                      <a:pt x="232" y="29"/>
                    </a:lnTo>
                    <a:lnTo>
                      <a:pt x="235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35" y="6"/>
                    </a:lnTo>
                    <a:lnTo>
                      <a:pt x="232" y="3"/>
                    </a:lnTo>
                    <a:lnTo>
                      <a:pt x="239" y="3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Rectangle 171">
                <a:extLst>
                  <a:ext uri="{FF2B5EF4-FFF2-40B4-BE49-F238E27FC236}">
                    <a16:creationId xmlns:a16="http://schemas.microsoft.com/office/drawing/2014/main" id="{9E439F48-92F8-43B0-BDAE-D7E76DEE63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056" y="2247"/>
                <a:ext cx="280" cy="3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172">
                <a:extLst>
                  <a:ext uri="{FF2B5EF4-FFF2-40B4-BE49-F238E27FC236}">
                    <a16:creationId xmlns:a16="http://schemas.microsoft.com/office/drawing/2014/main" id="{EC7CD5F1-6F31-4E95-8C16-9D246F647ED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052" y="2243"/>
                <a:ext cx="288" cy="39"/>
              </a:xfrm>
              <a:custGeom>
                <a:avLst/>
                <a:gdLst/>
                <a:ahLst/>
                <a:cxnLst>
                  <a:cxn ang="0">
                    <a:pos x="237" y="3"/>
                  </a:cxn>
                  <a:cxn ang="0">
                    <a:pos x="237" y="1"/>
                  </a:cxn>
                  <a:cxn ang="0">
                    <a:pos x="236" y="1"/>
                  </a:cxn>
                  <a:cxn ang="0">
                    <a:pos x="236" y="0"/>
                  </a:cxn>
                  <a:cxn ang="0">
                    <a:pos x="0" y="0"/>
                  </a:cxn>
                  <a:cxn ang="0">
                    <a:pos x="0" y="31"/>
                  </a:cxn>
                  <a:cxn ang="0">
                    <a:pos x="1" y="31"/>
                  </a:cxn>
                  <a:cxn ang="0">
                    <a:pos x="1" y="32"/>
                  </a:cxn>
                  <a:cxn ang="0">
                    <a:pos x="234" y="32"/>
                  </a:cxn>
                  <a:cxn ang="0">
                    <a:pos x="237" y="29"/>
                  </a:cxn>
                  <a:cxn ang="0">
                    <a:pos x="237" y="3"/>
                  </a:cxn>
                  <a:cxn ang="0">
                    <a:pos x="231" y="3"/>
                  </a:cxn>
                  <a:cxn ang="0">
                    <a:pos x="231" y="29"/>
                  </a:cxn>
                  <a:cxn ang="0">
                    <a:pos x="234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3"/>
                  </a:cxn>
                  <a:cxn ang="0">
                    <a:pos x="3" y="6"/>
                  </a:cxn>
                  <a:cxn ang="0">
                    <a:pos x="234" y="6"/>
                  </a:cxn>
                  <a:cxn ang="0">
                    <a:pos x="231" y="3"/>
                  </a:cxn>
                  <a:cxn ang="0">
                    <a:pos x="237" y="3"/>
                  </a:cxn>
                </a:cxnLst>
                <a:rect l="0" t="0" r="r" b="b"/>
                <a:pathLst>
                  <a:path w="237" h="32">
                    <a:moveTo>
                      <a:pt x="237" y="3"/>
                    </a:moveTo>
                    <a:lnTo>
                      <a:pt x="237" y="1"/>
                    </a:lnTo>
                    <a:lnTo>
                      <a:pt x="236" y="1"/>
                    </a:lnTo>
                    <a:lnTo>
                      <a:pt x="23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32"/>
                    </a:lnTo>
                    <a:lnTo>
                      <a:pt x="234" y="32"/>
                    </a:lnTo>
                    <a:lnTo>
                      <a:pt x="237" y="29"/>
                    </a:lnTo>
                    <a:lnTo>
                      <a:pt x="237" y="3"/>
                    </a:lnTo>
                    <a:lnTo>
                      <a:pt x="231" y="3"/>
                    </a:lnTo>
                    <a:lnTo>
                      <a:pt x="231" y="29"/>
                    </a:lnTo>
                    <a:lnTo>
                      <a:pt x="234" y="26"/>
                    </a:lnTo>
                    <a:lnTo>
                      <a:pt x="3" y="26"/>
                    </a:lnTo>
                    <a:lnTo>
                      <a:pt x="6" y="29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234" y="6"/>
                    </a:lnTo>
                    <a:lnTo>
                      <a:pt x="231" y="3"/>
                    </a:lnTo>
                    <a:lnTo>
                      <a:pt x="237" y="3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3" name="Line 173">
              <a:extLst>
                <a:ext uri="{FF2B5EF4-FFF2-40B4-BE49-F238E27FC236}">
                  <a16:creationId xmlns:a16="http://schemas.microsoft.com/office/drawing/2014/main" id="{D6059CE7-1847-4CDF-AD07-DA4E0AB19DC4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459" y="2366"/>
              <a:ext cx="2717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ashDot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7393019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8B2E160-C432-457E-AA6A-4CBDCE767B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F Class (No Fire)</a:t>
            </a:r>
          </a:p>
          <a:p>
            <a:pPr lvl="1"/>
            <a:r>
              <a:rPr lang="en-US" dirty="0"/>
              <a:t>Deformation is present but no restraint system needed</a:t>
            </a:r>
          </a:p>
          <a:p>
            <a:r>
              <a:rPr lang="en-US" dirty="0"/>
              <a:t>M Class (Misuse)</a:t>
            </a:r>
          </a:p>
          <a:p>
            <a:pPr lvl="1"/>
            <a:r>
              <a:rPr lang="en-US" dirty="0"/>
              <a:t>No deformation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9D5A30-0CB0-4D09-8F6A-241FC4236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F/M Classes</a:t>
            </a:r>
            <a:br>
              <a:rPr lang="en-US" dirty="0"/>
            </a:br>
            <a:r>
              <a:rPr lang="en-US" dirty="0"/>
              <a:t>No Deploy Need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3F7521-0480-4B6B-A3ED-41CA93731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5 November 2018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03354D-1523-41FC-8E4B-7C1B0762C9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11C662-0E72-4E3B-90FE-2E47F532437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61214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ADAS_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1F37176732584B9BE065162195416B" ma:contentTypeVersion="2" ma:contentTypeDescription="Create a new document." ma:contentTypeScope="" ma:versionID="a15517289d2cdf6839f20b8b06cab421">
  <xsd:schema xmlns:xsd="http://www.w3.org/2001/XMLSchema" xmlns:xs="http://www.w3.org/2001/XMLSchema" xmlns:p="http://schemas.microsoft.com/office/2006/metadata/properties" xmlns:ns2="721ea4ff-a695-4146-8c6b-5d1a1e6ff939" targetNamespace="http://schemas.microsoft.com/office/2006/metadata/properties" ma:root="true" ma:fieldsID="b88dccda1dceaf193919b31f857b7e99" ns2:_="">
    <xsd:import namespace="721ea4ff-a695-4146-8c6b-5d1a1e6ff939"/>
    <xsd:element name="properties">
      <xsd:complexType>
        <xsd:sequence>
          <xsd:element name="documentManagement">
            <xsd:complexType>
              <xsd:all>
                <xsd:element ref="ns2:OrgFileExt" minOccurs="0"/>
                <xsd:element ref="ns2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1ea4ff-a695-4146-8c6b-5d1a1e6ff939" elementFormDefault="qualified">
    <xsd:import namespace="http://schemas.microsoft.com/office/2006/documentManagement/types"/>
    <xsd:import namespace="http://schemas.microsoft.com/office/infopath/2007/PartnerControls"/>
    <xsd:element name="OrgFileExt" ma:index="8" nillable="true" ma:displayName="Orginal Ext" ma:internalName="OrgFileExt" ma:readOnly="true">
      <xsd:simpleType>
        <xsd:restriction base="dms:Text"/>
      </xsd:simpleType>
    </xsd:element>
    <xsd:element name="CurItemExt" ma:index="9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40D2F21-912A-4338-9DC7-CC81C58A86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1ea4ff-a695-4146-8c6b-5d1a1e6ff9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A32F95-042E-48E4-9B3D-69B3020CBE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C01C79-6410-4266-9CA5-E48E2965664C}">
  <ds:schemaRefs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721ea4ff-a695-4146-8c6b-5d1a1e6ff939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AS_16x9</Template>
  <TotalTime>0</TotalTime>
  <Words>313</Words>
  <Application>Microsoft Office PowerPoint</Application>
  <PresentationFormat>On-screen Show (16:9)</PresentationFormat>
  <Paragraphs>88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Arial</vt:lpstr>
      <vt:lpstr>ADAS_16x9</vt:lpstr>
      <vt:lpstr>Classification Challenge</vt:lpstr>
      <vt:lpstr>Passive Safety Algorithms are Classifiers Pattern recognition methods</vt:lpstr>
      <vt:lpstr>F1/F2/F3 Classes Wall Rigid Barrier</vt:lpstr>
      <vt:lpstr>F4 Class Offset Deformable Barrier</vt:lpstr>
      <vt:lpstr>F5 Class Angular Barrier</vt:lpstr>
      <vt:lpstr>RR Class Movable Deformable Barrier / Wall Rigid Barrier</vt:lpstr>
      <vt:lpstr>L1/L2/L3/R1/R2/R3 Classes Left/ Right Pole</vt:lpstr>
      <vt:lpstr>L3/R3 Classes Left/ Right EU 50/ SIN-CAP</vt:lpstr>
      <vt:lpstr>NF/M Classes No Deploy Needed</vt:lpstr>
      <vt:lpstr>Multivariate Time Series Data Sensor Positions</vt:lpstr>
      <vt:lpstr>Thank you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ed Safety –</dc:title>
  <dc:creator>Ariel Engelen</dc:creator>
  <cp:lastModifiedBy>Marin, Gabriel</cp:lastModifiedBy>
  <cp:revision>554</cp:revision>
  <dcterms:created xsi:type="dcterms:W3CDTF">2017-08-09T08:00:07Z</dcterms:created>
  <dcterms:modified xsi:type="dcterms:W3CDTF">2018-11-15T15:4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1F37176732584B9BE065162195416B</vt:lpwstr>
  </property>
</Properties>
</file>